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1" r:id="rId5"/>
    <p:sldMasterId id="2147483742" r:id="rId6"/>
  </p:sldMasterIdLst>
  <p:notesMasterIdLst>
    <p:notesMasterId r:id="rId12"/>
  </p:notesMasterIdLst>
  <p:sldIdLst>
    <p:sldId id="2146846718" r:id="rId7"/>
    <p:sldId id="2147475418" r:id="rId8"/>
    <p:sldId id="2147475420" r:id="rId9"/>
    <p:sldId id="349" r:id="rId10"/>
    <p:sldId id="2147475422" r:id="rId11"/>
  </p:sldIdLst>
  <p:sldSz cx="12192000" cy="6858000"/>
  <p:notesSz cx="6858000" cy="9144000"/>
  <p:defaultTextStyle>
    <a:defPPr>
      <a:defRPr lang="de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CE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84E5D0-476B-4FB0-88FE-8AE60A10495A}" v="2" dt="2025-10-16T09:31:53.7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49" autoAdjust="0"/>
    <p:restoredTop sz="94660"/>
  </p:normalViewPr>
  <p:slideViewPr>
    <p:cSldViewPr snapToGrid="0">
      <p:cViewPr varScale="1">
        <p:scale>
          <a:sx n="79" d="100"/>
          <a:sy n="79" d="100"/>
        </p:scale>
        <p:origin x="53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B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AB8918-2E67-47A0-A703-C88C5506D25F}" type="datetimeFigureOut">
              <a:rPr lang="de-BE" smtClean="0"/>
              <a:t>10/16/2025</a:t>
            </a:fld>
            <a:endParaRPr lang="de-B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B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B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B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43C828-E3D4-4FEF-95EB-C71419008710}" type="slidenum">
              <a:rPr lang="de-BE" smtClean="0"/>
              <a:t>‹#›</a:t>
            </a:fld>
            <a:endParaRPr lang="de-BE"/>
          </a:p>
        </p:txBody>
      </p:sp>
    </p:spTree>
    <p:extLst>
      <p:ext uri="{BB962C8B-B14F-4D97-AF65-F5344CB8AC3E}">
        <p14:creationId xmlns:p14="http://schemas.microsoft.com/office/powerpoint/2010/main" val="1139099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ice </a:t>
            </a:r>
            <a:fld id="{84EE17C3-51E0-4A9C-B3A8-E6548E6A9E9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844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B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43C828-E3D4-4FEF-95EB-C71419008710}" type="slidenum">
              <a:rPr lang="de-BE" smtClean="0"/>
              <a:t>2</a:t>
            </a:fld>
            <a:endParaRPr lang="de-BE"/>
          </a:p>
        </p:txBody>
      </p:sp>
    </p:spTree>
    <p:extLst>
      <p:ext uri="{BB962C8B-B14F-4D97-AF65-F5344CB8AC3E}">
        <p14:creationId xmlns:p14="http://schemas.microsoft.com/office/powerpoint/2010/main" val="1755032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4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9FC4E91-2C85-40C8-BE60-01CE6CCBC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277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C402A96C-EBED-40E1-A4C2-8E37DB8DC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8BDE6292-7392-48FE-A6BA-AC5CD29F9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665DDE-DE0E-4DA5-8EAA-1E82501DB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482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FFD41C4-7798-4F0E-9427-CEB787854E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6146635E-18DA-497C-98DD-F1006A7136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81AB199-8A65-4B51-8E16-0D550E61429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814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ig statement on a full size picture</a:t>
            </a:r>
            <a:endParaRPr lang="de-DE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2F9AFBA0-B0CE-45B5-88B6-DE32188291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73228AD8-2A25-47E7-8F81-CD86532004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B26BEEC-5011-47EF-BE73-4BA6F7F255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200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15F919-D2A7-4827-A9DB-C87D47562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AE69DAE-225B-467B-A517-4DA600FF9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3C16CC-F4F7-4574-9F9E-91E711A23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0824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022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38177D17-482A-495C-9006-2828BD380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D5FE588-63B7-4683-A4C3-A376FBC9D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11E0E2E-08BB-45ED-876E-F692C7711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82533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403C0EB4-1B53-4B8F-9740-38C1F1FBC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55925FA6-8423-4CD0-8733-9EA0DDBA1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D88C0A6-7202-4D95-BB1D-396CBCC40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7173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AC6E2027-C772-42AD-984D-7A3556335C6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381C935-780D-4012-B178-FB5E727164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6CD01A0-91A7-4373-AA3C-DD67B39EAA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3170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FCABBC9-3B39-4120-9E36-C1B10AF3BA6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C140787-C6C2-478B-AC12-0F161894B6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1562448-5834-43F6-984A-69EC84B345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3653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White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88A136D3-BF07-484B-9E26-71DF4D911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B88261F-E8E4-490F-85AD-522429F7B2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64B2C9E1-F700-445E-9204-8767956E2DB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3396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F731564-D121-411C-A639-649F24AADDC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69DC8D8-3EA7-4817-9C53-46CFD3E3EA4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4BF74D4-9EBB-405C-AC28-94CEFF21A9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290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6F2CD3C-79DD-415D-B58C-FB34DEE2AC5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E8ECC2DA-CA3B-4784-9489-58E57080D5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515FD23-94DD-4C7D-A503-656BABF8E1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539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283E88-EAE1-415C-A5B2-0A2B1E467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7D335C-B372-4CBB-B1BD-744481B43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8D2EF-F23B-41C5-ABCD-9712A9A8C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49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4CD9D67-4188-4E61-A4E0-847685422FD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70560A58-2575-4155-919E-CACDD0C2D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D063BF5-DC77-422B-BA57-03E4C264E2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020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8EE6B1-343B-4853-A736-00905998E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17873E06-DA8B-42CB-A4F6-66D71E1618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0FA6A35-1A76-4CD5-A22D-971A5DBCEC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1462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34815-BD84-497F-A42F-97846583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75CD8-0EFD-4DAC-A1BC-6E0964F34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B6DF6-ACA1-4D6E-B0E4-16B0B4F50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250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81E377-1431-40CF-B767-BFE24EC43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C251A-9722-4FB7-8817-A66558168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DF4AC8-101C-4EBB-AC50-20F894D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469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2F7DDD-CA41-40D6-A29A-8F1D533E2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CA04CD-6BE8-444A-B81D-BF17EA2A4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DF2FD6-3211-46A7-9FD8-6B438C3E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9136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7" t="-4" r="1" b="-1"/>
          <a:stretch/>
        </p:blipFill>
        <p:spPr bwMode="grayWhite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C70E75-D739-4DDD-8C67-80B415409F1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F23AB6-BD6A-4B8B-8D84-F85D0E10194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A3D1C-DCA3-4AC2-A75B-4E56E0A4F8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236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D0ED97-5C70-47D8-BCBB-91F0DD5B33A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1ADA0A-F908-44C9-B847-24AB2B5D75A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B35601-8DD5-4AEF-B3A0-A4DE70BEBE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884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9" t="-4" r="1" b="-1"/>
          <a:stretch/>
        </p:blipFill>
        <p:spPr bwMode="grayWhite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522B58-5398-4862-B52D-03604F94B5A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54BF0-983C-4FAA-95C9-B04CD25A3F0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706C7-95E9-46DC-AC1A-8FD0608509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268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BC5FE3-B07B-40CB-ADF1-5612774791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829A67-E669-4A2C-B3AB-1BFFA3E672A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14F746-A8CB-4B14-81DB-18C28B9F5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01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56"/>
          <a:stretch/>
        </p:blipFill>
        <p:spPr bwMode="grayWhite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2E43-2B51-4275-97D9-4FCC5691F64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9C655B-C4A0-4021-B2BB-F636800B81E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1DFC-6438-4D8E-BDFF-7E6A87088F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254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57D14-2754-49B8-A0A6-16313D5FE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C832A-109A-4386-9E1C-039C9F598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28321-985A-4DF6-A91C-5817AD35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627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8207375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ontact information</a:t>
            </a:r>
          </a:p>
          <a:p>
            <a:pPr lvl="1"/>
            <a:r>
              <a:rPr lang="en-US" noProof="0" dirty="0"/>
              <a:t>First name Last name</a:t>
            </a:r>
          </a:p>
          <a:p>
            <a:pPr lvl="2"/>
            <a:r>
              <a:rPr lang="en-US" noProof="0" dirty="0"/>
              <a:t>Additional information</a:t>
            </a:r>
          </a:p>
          <a:p>
            <a:pPr lvl="3"/>
            <a:r>
              <a:rPr lang="en-US" noProof="0" dirty="0"/>
              <a:t>Optional UR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55F7821-3B7D-46FA-AB71-D6E1821C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487E21B0-3330-46FB-B5F9-B33B66389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B7B179D-BB44-4059-89E7-5F4779D47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234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hidden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099B4D-DDCB-4B71-962C-158943057CF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B37B76-DD37-417C-9B4B-F747432117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F01958-72C1-44DF-95B7-D4A951EFA2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492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C22364F-F9C6-4D52-9986-149F5BA08EF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7A11488-1D28-45C0-8F53-ED3E87382A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78D384-4EEE-4FEC-A500-1EC44136AC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9707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4BEA8033-56A0-4F47-9018-9C7D7CE4053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BEF13B2C-DEFE-41B2-9CC0-1FA45BF6271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530C658-0DEB-4057-A00C-913321EE2E1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729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67CA5B2-50C3-4CD9-8B4C-E01E3FA2B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1B06ECE-1956-43EC-B964-0B147C341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CB8CD93-22FF-4A87-AB84-EB4F17D6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3160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 bwMode="ltGray"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4CF31EB-EA35-444B-8FEB-3005A9E1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C72C227-5CEF-4B87-A841-1B18024C6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27718F-4836-4190-A051-4EF7D996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679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9C3436A-6F82-487C-A217-F49F86FE605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C3C4D3B9-55F9-4A03-BFF5-63CAB8A8B0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AAF52BA-406D-4DB9-A8CF-6DBDD9150F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525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DF9EABB-0C7B-4430-B380-F7B43E4CE9F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0EAF6209-CEC7-4DCC-8785-0AB8C2630F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2A79F23-7B94-461F-825D-D51556484F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083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C2EB4BBF-386C-4A83-BDBA-CC46EF263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558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FFD41C4-7798-4F0E-9427-CEB787854E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6146635E-18DA-497C-98DD-F1006A7136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81AB199-8A65-4B51-8E16-0D550E61429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811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ig statement on a full </a:t>
            </a:r>
            <a:r>
              <a:rPr lang="en-US"/>
              <a:t>size picture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2F9AFBA0-B0CE-45B5-88B6-DE32188291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73228AD8-2A25-47E7-8F81-CD86532004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B26BEEC-5011-47EF-BE73-4BA6F7F255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982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15F919-D2A7-4827-A9DB-C87D47562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AE69DAE-225B-467B-A517-4DA600FF9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3C16CC-F4F7-4574-9F9E-91E711A23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0824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9092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38177D17-482A-495C-9006-2828BD380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D5FE588-63B7-4683-A4C3-A376FBC9D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11E0E2E-08BB-45ED-876E-F692C7711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7357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403C0EB4-1B53-4B8F-9740-38C1F1FBC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55925FA6-8423-4CD0-8733-9EA0DDBA1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D88C0A6-7202-4D95-BB1D-396CBCC40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060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AC6E2027-C772-42AD-984D-7A3556335C6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381C935-780D-4012-B178-FB5E727164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6CD01A0-91A7-4373-AA3C-DD67B39EAA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8872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FCABBC9-3B39-4120-9E36-C1B10AF3BA6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C140787-C6C2-478B-AC12-0F161894B6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1562448-5834-43F6-984A-69EC84B345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46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White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88A136D3-BF07-484B-9E26-71DF4D911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B88261F-E8E4-490F-85AD-522429F7B2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64B2C9E1-F700-445E-9204-8767956E2DB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4299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F731564-D121-411C-A639-649F24AADDC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69DC8D8-3EA7-4817-9C53-46CFD3E3EA4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4BF74D4-9EBB-405C-AC28-94CEFF21A9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2001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6F2CD3C-79DD-415D-B58C-FB34DEE2AC5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E8ECC2DA-CA3B-4784-9489-58E57080D5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515FD23-94DD-4C7D-A503-656BABF8E1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6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F33FBE1-0695-4F86-8E06-7C12BB6B0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227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4CD9D67-4188-4E61-A4E0-847685422FD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70560A58-2575-4155-919E-CACDD0C2D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D063BF5-DC77-422B-BA57-03E4C264E2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17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8EE6B1-343B-4853-A736-00905998E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17873E06-DA8B-42CB-A4F6-66D71E1618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0FA6A35-1A76-4CD5-A22D-971A5DBCEC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4624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34815-BD84-497F-A42F-97846583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75CD8-0EFD-4DAC-A1BC-6E0964F34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B6DF6-ACA1-4D6E-B0E4-16B0B4F50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15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81E377-1431-40CF-B767-BFE24EC43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C251A-9722-4FB7-8817-A66558168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DF4AC8-101C-4EBB-AC50-20F894D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460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2F7DDD-CA41-40D6-A29A-8F1D533E2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CA04CD-6BE8-444A-B81D-BF17EA2A4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DF2FD6-3211-46A7-9FD8-6B438C3E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498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7" t="-4" r="1" b="-1"/>
          <a:stretch/>
        </p:blipFill>
        <p:spPr bwMode="grayWhite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C70E75-D739-4DDD-8C67-80B415409F1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F23AB6-BD6A-4B8B-8D84-F85D0E10194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A3D1C-DCA3-4AC2-A75B-4E56E0A4F8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8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D0ED97-5C70-47D8-BCBB-91F0DD5B33A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1ADA0A-F908-44C9-B847-24AB2B5D75A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B35601-8DD5-4AEF-B3A0-A4DE70BEBE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528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9" t="-4" r="1" b="-1"/>
          <a:stretch/>
        </p:blipFill>
        <p:spPr bwMode="grayWhite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522B58-5398-4862-B52D-03604F94B5A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54BF0-983C-4FAA-95C9-B04CD25A3F0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706C7-95E9-46DC-AC1A-8FD0608509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1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BC5FE3-B07B-40CB-ADF1-5612774791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829A67-E669-4A2C-B3AB-1BFFA3E672A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14F746-A8CB-4B14-81DB-18C28B9F5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208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56"/>
          <a:stretch/>
        </p:blipFill>
        <p:spPr bwMode="grayWhite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2E43-2B51-4275-97D9-4FCC5691F64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9C655B-C4A0-4021-B2BB-F636800B81E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1DFC-6438-4D8E-BDFF-7E6A87088F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624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B73C7-AC84-4752-8A56-05C5A6A1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Confidential © Siemens Energy, 2023 | SE CM GEA </a:t>
            </a:r>
          </a:p>
        </p:txBody>
      </p:sp>
    </p:spTree>
    <p:extLst>
      <p:ext uri="{BB962C8B-B14F-4D97-AF65-F5344CB8AC3E}">
        <p14:creationId xmlns:p14="http://schemas.microsoft.com/office/powerpoint/2010/main" val="2892422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8207375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ontact information</a:t>
            </a:r>
          </a:p>
          <a:p>
            <a:pPr lvl="1"/>
            <a:r>
              <a:rPr lang="en-US" noProof="0" dirty="0"/>
              <a:t>First name Last name</a:t>
            </a:r>
          </a:p>
          <a:p>
            <a:pPr lvl="2"/>
            <a:r>
              <a:rPr lang="en-US" noProof="0" dirty="0"/>
              <a:t>Additional information</a:t>
            </a:r>
          </a:p>
          <a:p>
            <a:pPr lvl="3"/>
            <a:r>
              <a:rPr lang="en-US" noProof="0" dirty="0"/>
              <a:t>Optional UR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55F7821-3B7D-46FA-AB71-D6E1821C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487E21B0-3330-46FB-B5F9-B33B66389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B7B179D-BB44-4059-89E7-5F4779D47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6080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2CDB47-6594-4650-7810-60255D256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49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2CDB47-6594-4650-7810-60255D256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84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18370A-D29A-B50A-6E92-6976CF49C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75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18370A-D29A-B50A-6E92-6976CF49C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C2EB4BBF-386C-4A83-BDBA-CC46EF263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/>
          <a:p>
            <a:r>
              <a:rPr lang="en-US"/>
              <a:t>Experience Days 2024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50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29A6238-1403-51B9-60FD-60FBBA3B9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94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9A6238-1403-51B9-60FD-60FBBA3B9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F33FBE1-0695-4F86-8E06-7C12BB6B0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/>
          <a:p>
            <a:r>
              <a:rPr lang="en-US"/>
              <a:t>Experience Days 2024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082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7EDB4C5-67D8-06A2-7FB5-17DEEA444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93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EDB4C5-67D8-06A2-7FB5-17DEEA444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B73C7-AC84-4752-8A56-05C5A6A1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/>
          <a:p>
            <a:r>
              <a:rPr lang="en-US"/>
              <a:t>Experience Days 2024</a:t>
            </a:r>
          </a:p>
        </p:txBody>
      </p:sp>
    </p:spTree>
    <p:extLst>
      <p:ext uri="{BB962C8B-B14F-4D97-AF65-F5344CB8AC3E}">
        <p14:creationId xmlns:p14="http://schemas.microsoft.com/office/powerpoint/2010/main" val="3130820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7341652-A6E0-4DB9-6619-5A8CF5663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4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41652-A6E0-4DB9-6619-5A8CF5663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0131A-5184-4CA7-A717-D2A1B58C5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/>
          <a:p>
            <a:r>
              <a:rPr lang="en-US"/>
              <a:t>Experience Days 2024</a:t>
            </a:r>
          </a:p>
        </p:txBody>
      </p:sp>
    </p:spTree>
    <p:extLst>
      <p:ext uri="{BB962C8B-B14F-4D97-AF65-F5344CB8AC3E}">
        <p14:creationId xmlns:p14="http://schemas.microsoft.com/office/powerpoint/2010/main" val="915879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AFE7F8-A459-4592-86E9-91EB4FECF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F44BE4-FF7F-441A-B5DE-DA9393E1B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ADB3-25AA-4202-A6AF-44D71A066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257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EE2B3-79DF-4A91-81E1-7DEC29E47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B5747-F46A-4C59-9940-6DA89B0BB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08EF81-0DB2-484C-B81E-46BFF90D4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25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07C24-BE00-4CC1-A2E7-4BB43D6BE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074DE9-A92F-45AF-A21E-903FA8847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71231-C997-4216-B2A3-DAAC49B10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839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D56F22-29C0-4982-913C-F92CC7C8D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3FBF2-F6B3-4601-B5EE-14416259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7E609-5E72-41CF-BAC9-6B59E3656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48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0131A-5184-4CA7-A717-D2A1B58C5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Confidential © Siemens Energy, 2023 | SE CM GEA </a:t>
            </a:r>
          </a:p>
        </p:txBody>
      </p:sp>
    </p:spTree>
    <p:extLst>
      <p:ext uri="{BB962C8B-B14F-4D97-AF65-F5344CB8AC3E}">
        <p14:creationId xmlns:p14="http://schemas.microsoft.com/office/powerpoint/2010/main" val="2986230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C402A96C-EBED-40E1-A4C2-8E37DB8DC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8BDE6292-7392-48FE-A6BA-AC5CD29F9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665DDE-DE0E-4DA5-8EAA-1E82501DB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31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283E88-EAE1-415C-A5B2-0A2B1E467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7D335C-B372-4CBB-B1BD-744481B43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8D2EF-F23B-41C5-ABCD-9712A9A8C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997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57D14-2754-49B8-A0A6-16313D5FE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C832A-109A-4386-9E1C-039C9F598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28321-985A-4DF6-A91C-5817AD35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680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hidden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099B4D-DDCB-4B71-962C-158943057CF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B37B76-DD37-417C-9B4B-F747432117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F01958-72C1-44DF-95B7-D4A951EFA2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707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C22364F-F9C6-4D52-9986-149F5BA08EF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7A11488-1D28-45C0-8F53-ED3E87382A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78D384-4EEE-4FEC-A500-1EC44136AC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568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4BEA8033-56A0-4F47-9018-9C7D7CE4053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BEF13B2C-DEFE-41B2-9CC0-1FA45BF6271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530C658-0DEB-4057-A00C-913321EE2E1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8603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1B06ECE-1956-43EC-B964-0B147C341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de-DE" sz="100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perience Days 2024</a:t>
            </a:r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CB8CD93-22FF-4A87-AB84-EB4F17D6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968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 bwMode="ltGray"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4CF31EB-EA35-444B-8FEB-3005A9E1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C72C227-5CEF-4B87-A841-1B18024C6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27718F-4836-4190-A051-4EF7D996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1856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9C3436A-6F82-487C-A217-F49F86FE605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C3C4D3B9-55F9-4A03-BFF5-63CAB8A8B0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AAF52BA-406D-4DB9-A8CF-6DBDD9150F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651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DF9EABB-0C7B-4430-B380-F7B43E4CE9F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0EAF6209-CEC7-4DCC-8785-0AB8C2630F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2A79F23-7B94-461F-825D-D51556484F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111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AFE7F8-A459-4592-86E9-91EB4FECF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F44BE4-FF7F-441A-B5DE-DA9393E1B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ADB3-25AA-4202-A6AF-44D71A066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97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FFD41C4-7798-4F0E-9427-CEB787854E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6146635E-18DA-497C-98DD-F1006A7136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81AB199-8A65-4B51-8E16-0D550E61429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838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2F9AFBA0-B0CE-45B5-88B6-DE32188291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73228AD8-2A25-47E7-8F81-CD86532004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B26BEEC-5011-47EF-BE73-4BA6F7F255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27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15F919-D2A7-4827-A9DB-C87D47562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AE69DAE-225B-467B-A517-4DA600FF9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3C16CC-F4F7-4574-9F9E-91E711A23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0824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5681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38177D17-482A-495C-9006-2828BD380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D5FE588-63B7-4683-A4C3-A376FBC9D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11E0E2E-08BB-45ED-876E-F692C7711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5118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403C0EB4-1B53-4B8F-9740-38C1F1FBC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55925FA6-8423-4CD0-8733-9EA0DDBA1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D88C0A6-7202-4D95-BB1D-396CBCC40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603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AC6E2027-C772-42AD-984D-7A3556335C6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381C935-780D-4012-B178-FB5E727164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6CD01A0-91A7-4373-AA3C-DD67B39EAA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6659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FCABBC9-3B39-4120-9E36-C1B10AF3BA6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C140787-C6C2-478B-AC12-0F161894B6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1562448-5834-43F6-984A-69EC84B345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236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White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88A136D3-BF07-484B-9E26-71DF4D911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B88261F-E8E4-490F-85AD-522429F7B2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64B2C9E1-F700-445E-9204-8767956E2DB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441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F731564-D121-411C-A639-649F24AADDC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69DC8D8-3EA7-4817-9C53-46CFD3E3EA4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4BF74D4-9EBB-405C-AC28-94CEFF21A9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6107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6F2CD3C-79DD-415D-B58C-FB34DEE2AC5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E8ECC2DA-CA3B-4784-9489-58E57080D5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515FD23-94DD-4C7D-A503-656BABF8E1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44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EE2B3-79DF-4A91-81E1-7DEC29E47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B5747-F46A-4C59-9940-6DA89B0BB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08EF81-0DB2-484C-B81E-46BFF90D4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018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4CD9D67-4188-4E61-A4E0-847685422FD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70560A58-2575-4155-919E-CACDD0C2D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D063BF5-DC77-422B-BA57-03E4C264E2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008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8EE6B1-343B-4853-A736-00905998E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17873E06-DA8B-42CB-A4F6-66D71E1618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0FA6A35-1A76-4CD5-A22D-971A5DBCEC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9811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36FBCA6-5BFA-D277-7C60-B907D06CB5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925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FBCA6-5BFA-D277-7C60-B907D06CB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34815-BD84-497F-A42F-97846583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75CD8-0EFD-4DAC-A1BC-6E0964F34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B6DF6-ACA1-4D6E-B0E4-16B0B4F50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179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A2995C3-9534-C0EC-1842-885A3F6A5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487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2995C3-9534-C0EC-1842-885A3F6A5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81E377-1431-40CF-B767-BFE24EC43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C251A-9722-4FB7-8817-A66558168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DF4AC8-101C-4EBB-AC50-20F894D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777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2F7DDD-CA41-40D6-A29A-8F1D533E2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DF2FD6-3211-46A7-9FD8-6B438C3E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38C791B9-99D6-C1D4-1158-54D27A610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84799" y="6526800"/>
            <a:ext cx="1479200" cy="331200"/>
          </a:xfrm>
        </p:spPr>
        <p:txBody>
          <a:bodyPr/>
          <a:lstStyle/>
          <a:p>
            <a:r>
              <a:rPr lang="de-DE" sz="100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perience Days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031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grayWhite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C70E75-D739-4DDD-8C67-80B415409F1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F23AB6-BD6A-4B8B-8D84-F85D0E10194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xperience Days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A3D1C-DCA3-4AC2-A75B-4E56E0A4F8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804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D0ED97-5C70-47D8-BCBB-91F0DD5B33A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1ADA0A-F908-44C9-B847-24AB2B5D75A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xperience Days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B35601-8DD5-4AEF-B3A0-A4DE70BEBE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16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grayWhite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522B58-5398-4862-B52D-03604F94B5A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54BF0-983C-4FAA-95C9-B04CD25A3F0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706C7-95E9-46DC-AC1A-8FD0608509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892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BC5FE3-B07B-40CB-ADF1-5612774791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829A67-E669-4A2C-B3AB-1BFFA3E672A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14F746-A8CB-4B14-81DB-18C28B9F5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861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White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2E43-2B51-4275-97D9-4FCC5691F64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9C655B-C4A0-4021-B2BB-F636800B81E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1DFC-6438-4D8E-BDFF-7E6A87088F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31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07C24-BE00-4CC1-A2E7-4BB43D6BE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074DE9-A92F-45AF-A21E-903FA8847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71231-C997-4216-B2A3-DAAC49B10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978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8207375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55F7821-3B7D-46FA-AB71-D6E1821C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487E21B0-3330-46FB-B5F9-B33B66389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xperience Days 2024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B7B179D-BB44-4059-89E7-5F4779D47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6450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9FC4E91-2C85-40C8-BE60-01CE6CCBC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 dirty="0"/>
              <a:t>Restricted © Siemens Energy, 2022 | Author, Department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007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C2EB4BBF-386C-4A83-BDBA-CC46EF263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914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F33FBE1-0695-4F86-8E06-7C12BB6B0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35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B73C7-AC84-4752-8A56-05C5A6A1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63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0131A-5184-4CA7-A717-D2A1B58C5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482400"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392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AFE7F8-A459-4592-86E9-91EB4FECF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F44BE4-FF7F-441A-B5DE-DA9393E1B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ADB3-25AA-4202-A6AF-44D71A066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339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EE2B3-79DF-4A91-81E1-7DEC29E47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B5747-F46A-4C59-9940-6DA89B0BB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08EF81-0DB2-484C-B81E-46BFF90D4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340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07C24-BE00-4CC1-A2E7-4BB43D6BE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074DE9-A92F-45AF-A21E-903FA8847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71231-C997-4216-B2A3-DAAC49B10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815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D56F22-29C0-4982-913C-F92CC7C8D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3FBF2-F6B3-4601-B5EE-14416259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7E609-5E72-41CF-BAC9-6B59E3656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842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D56F22-29C0-4982-913C-F92CC7C8D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3FBF2-F6B3-4601-B5EE-14416259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7E609-5E72-41CF-BAC9-6B59E3656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307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C402A96C-EBED-40E1-A4C2-8E37DB8DC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8BDE6292-7392-48FE-A6BA-AC5CD29F9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665DDE-DE0E-4DA5-8EAA-1E82501DB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68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283E88-EAE1-415C-A5B2-0A2B1E467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7D335C-B372-4CBB-B1BD-744481B43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8D2EF-F23B-41C5-ABCD-9712A9A8C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791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57D14-2754-49B8-A0A6-16313D5FE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C832A-109A-4386-9E1C-039C9F598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28321-985A-4DF6-A91C-5817AD35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463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hidden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099B4D-DDCB-4B71-962C-158943057CF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B37B76-DD37-417C-9B4B-F747432117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F01958-72C1-44DF-95B7-D4A951EFA2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098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C22364F-F9C6-4D52-9986-149F5BA08EF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7A11488-1D28-45C0-8F53-ED3E87382A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78D384-4EEE-4FEC-A500-1EC44136AC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998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4BEA8033-56A0-4F47-9018-9C7D7CE4053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BEF13B2C-DEFE-41B2-9CC0-1FA45BF6271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530C658-0DEB-4057-A00C-913321EE2E1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8352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67CA5B2-50C3-4CD9-8B4C-E01E3FA2B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1B06ECE-1956-43EC-B964-0B147C341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CB8CD93-22FF-4A87-AB84-EB4F17D6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2089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 bwMode="ltGray"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4CF31EB-EA35-444B-8FEB-3005A9E1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C72C227-5CEF-4B87-A841-1B18024C6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27718F-4836-4190-A051-4EF7D996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7197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9C3436A-6F82-487C-A217-F49F86FE605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C3C4D3B9-55F9-4A03-BFF5-63CAB8A8B0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AAF52BA-406D-4DB9-A8CF-6DBDD9150F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84242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DF9EABB-0C7B-4430-B380-F7B43E4CE9F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0EAF6209-CEC7-4DCC-8785-0AB8C2630F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Energy, 2022 | Author, Department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2A79F23-7B94-461F-825D-D51556484F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077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oleObject" Target="../embeddings/oleObject2.bin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tags" Target="../tags/tag10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4" Type="http://schemas.openxmlformats.org/officeDocument/2006/relationships/image" Target="../media/image20.emf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oleObject" Target="../embeddings/oleObject10.bin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B74E87-DABF-31DB-58DF-2FFAC9DFB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83696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06" imgH="306" progId="TCLayout.ActiveDocument.1">
                  <p:embed/>
                </p:oleObj>
              </mc:Choice>
              <mc:Fallback>
                <p:oleObj name="think-cell Folie" r:id="rId4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B74E87-DABF-31DB-58DF-2FFAC9DFB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Mastertitelformat bearbeiten</a:t>
            </a:r>
            <a:endParaRPr lang="en-US" noProof="0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455CD075-4A70-4E32-A9A2-91B316A76D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26800"/>
            <a:ext cx="1692000" cy="331200"/>
          </a:xfrm>
          <a:prstGeom prst="rect">
            <a:avLst/>
          </a:prstGeom>
        </p:spPr>
        <p:txBody>
          <a:bodyPr vert="horz" lIns="626400" tIns="0" rIns="0" bIns="0" rtlCol="0" anchor="t" anchorCtr="0"/>
          <a:lstStyle>
            <a:lvl1pPr algn="l"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ecember 2023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A3DCAD1-02F3-4066-A56E-088FFE2186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onfidential © Siemens Energy, 2023 | SE CM GEA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18B48C-AD01-4D10-ADDC-CBE83D3C9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4000" y="6526800"/>
            <a:ext cx="828000" cy="331200"/>
          </a:xfrm>
          <a:prstGeom prst="rect">
            <a:avLst/>
          </a:prstGeom>
        </p:spPr>
        <p:txBody>
          <a:bodyPr vert="horz" lIns="0" tIns="0" rIns="482400" bIns="0" rtlCol="0" anchor="t" anchorCtr="0"/>
          <a:lstStyle>
            <a:lvl1pPr algn="r">
              <a:defRPr lang="en-US" sz="1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89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E5744D-28E0-E946-80CD-25A65A2BF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240270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06" imgH="306" progId="TCLayout.ActiveDocument.1">
                  <p:embed/>
                </p:oleObj>
              </mc:Choice>
              <mc:Fallback>
                <p:oleObj name="think-cell Folie" r:id="rId4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5744D-28E0-E946-80CD-25A65A2BF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455CD075-4A70-4E32-A9A2-91B316A76D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26800"/>
            <a:ext cx="1692000" cy="331200"/>
          </a:xfrm>
          <a:prstGeom prst="rect">
            <a:avLst/>
          </a:prstGeom>
        </p:spPr>
        <p:txBody>
          <a:bodyPr vert="horz" lIns="626400" tIns="0" rIns="0" bIns="0" rtlCol="0" anchor="t" anchorCtr="0"/>
          <a:lstStyle>
            <a:lvl1pPr algn="l"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18B48C-AD01-4D10-ADDC-CBE83D3C9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4000" y="6526800"/>
            <a:ext cx="828000" cy="331200"/>
          </a:xfrm>
          <a:prstGeom prst="rect">
            <a:avLst/>
          </a:prstGeom>
        </p:spPr>
        <p:txBody>
          <a:bodyPr vert="horz" lIns="0" tIns="0" rIns="482400" bIns="0" rtlCol="0" anchor="t" anchorCtr="0"/>
          <a:lstStyle>
            <a:lvl1pPr algn="r">
              <a:defRPr lang="en-US" sz="1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10E90192-2A51-72EC-18C0-AB3CA4435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/>
          <a:p>
            <a:r>
              <a:rPr lang="de-DE" sz="100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perience Days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899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C29FC22-165E-9519-D90C-4DEFFA19EF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14489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53" imgH="353" progId="TCLayout.ActiveDocument.1">
                  <p:embed/>
                </p:oleObj>
              </mc:Choice>
              <mc:Fallback>
                <p:oleObj name="think-cell Folie" r:id="rId4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9FC22-165E-9519-D90C-4DEFFA19E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455CD075-4A70-4E32-A9A2-91B316A76D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26800"/>
            <a:ext cx="1692000" cy="331200"/>
          </a:xfrm>
          <a:prstGeom prst="rect">
            <a:avLst/>
          </a:prstGeom>
        </p:spPr>
        <p:txBody>
          <a:bodyPr vert="horz" lIns="626400" tIns="0" rIns="0" bIns="0" rtlCol="0" anchor="t" anchorCtr="0"/>
          <a:lstStyle>
            <a:lvl1pPr algn="l"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YYYY-MM-DD</a:t>
            </a:r>
            <a:endParaRPr lang="en-US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A3DCAD1-02F3-4066-A56E-088FFE2186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Restricted © Siemens Energy, 2022 | Author, Department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18B48C-AD01-4D10-ADDC-CBE83D3C9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4000" y="6526800"/>
            <a:ext cx="828000" cy="331200"/>
          </a:xfrm>
          <a:prstGeom prst="rect">
            <a:avLst/>
          </a:prstGeom>
        </p:spPr>
        <p:txBody>
          <a:bodyPr vert="horz" lIns="0" tIns="0" rIns="482400" bIns="0" rtlCol="0" anchor="t" anchorCtr="0"/>
          <a:lstStyle>
            <a:lvl1pPr algn="r">
              <a:defRPr lang="en-US" sz="1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B0116A-0D09-4E99-8C69-B4C15A5D8A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934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6.xml"/><Relationship Id="rId1" Type="http://schemas.openxmlformats.org/officeDocument/2006/relationships/tags" Target="../tags/tag11.xml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618A4A5-5986-5041-9A7D-35391BCB40D4}"/>
              </a:ext>
            </a:extLst>
          </p:cNvPr>
          <p:cNvSpPr txBox="1">
            <a:spLocks/>
          </p:cNvSpPr>
          <p:nvPr/>
        </p:nvSpPr>
        <p:spPr>
          <a:xfrm>
            <a:off x="627065" y="2717171"/>
            <a:ext cx="5468935" cy="2172026"/>
          </a:xfrm>
          <a:prstGeom prst="rect">
            <a:avLst/>
          </a:prstGeom>
        </p:spPr>
        <p:txBody>
          <a:bodyPr vert="horz" lIns="0" tIns="0" rIns="9144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>
              <a:spcAft>
                <a:spcPts val="1200"/>
              </a:spcAft>
              <a:defRPr/>
            </a:pP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  <a:p>
            <a:pPr>
              <a:spcAft>
                <a:spcPts val="1200"/>
              </a:spcAft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hilipp Offenberg, </a:t>
            </a:r>
          </a:p>
          <a:p>
            <a:pPr>
              <a:spcAft>
                <a:spcPts val="1200"/>
              </a:spcAft>
              <a:defRPr/>
            </a:pPr>
            <a:r>
              <a:rPr lang="en-GB" sz="1600" b="0" dirty="0"/>
              <a:t>Head of Government and Executive Affairs Office Brussels, Siemens Energy</a:t>
            </a:r>
            <a:endParaRPr lang="de-BE" sz="1600" b="0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6" name="Untertitel 4">
            <a:extLst>
              <a:ext uri="{FF2B5EF4-FFF2-40B4-BE49-F238E27FC236}">
                <a16:creationId xmlns:a16="http://schemas.microsoft.com/office/drawing/2014/main" id="{35ED82A0-317A-414C-B1C9-240B1ED1CD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7065" y="5198828"/>
            <a:ext cx="5614986" cy="339887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b="1" noProof="0" dirty="0"/>
              <a:t>17 October 2025</a:t>
            </a:r>
            <a:endParaRPr lang="en-GB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61AE273-7F2A-B64D-99CF-7844F75C8F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7518" y="2481833"/>
            <a:ext cx="8746431" cy="583095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13F226B4-B1CD-C059-208E-437FE2204D73}"/>
              </a:ext>
            </a:extLst>
          </p:cNvPr>
          <p:cNvSpPr txBox="1"/>
          <p:nvPr/>
        </p:nvSpPr>
        <p:spPr>
          <a:xfrm>
            <a:off x="627065" y="2000413"/>
            <a:ext cx="6061834" cy="18027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800" b="1" dirty="0"/>
              <a:t>Offshore wind in the Northern Seas &amp; the Baltic Sea</a:t>
            </a:r>
            <a:endParaRPr lang="de-BE" sz="2800" b="1" dirty="0" err="1"/>
          </a:p>
        </p:txBody>
      </p:sp>
    </p:spTree>
    <p:extLst>
      <p:ext uri="{BB962C8B-B14F-4D97-AF65-F5344CB8AC3E}">
        <p14:creationId xmlns:p14="http://schemas.microsoft.com/office/powerpoint/2010/main" val="213803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CE1C270-4AD9-43F2-6157-6A79B688311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31" b="7731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F0574A4-CA50-4754-A749-EF28CFB9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" y="4798"/>
            <a:ext cx="4952925" cy="3695833"/>
          </a:xfrm>
        </p:spPr>
        <p:txBody>
          <a:bodyPr anchor="t">
            <a:normAutofit/>
          </a:bodyPr>
          <a:lstStyle/>
          <a:p>
            <a:r>
              <a:rPr lang="en-US" noProof="0" dirty="0"/>
              <a:t>Europe needs an affordable and secure grid fast.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FC6568-13C7-005B-9D90-C021C6F9E5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© Siemens Energy, 2025 | SE CM GEA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131BDF-741C-7F35-1DDB-736D04DE1D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64000" y="6526800"/>
            <a:ext cx="828000" cy="3312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B0116A-0D09-4E99-8C69-B4C15A5D8A2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AB1FC5D-8BA3-74B0-3819-D190D7ACAD85}"/>
              </a:ext>
            </a:extLst>
          </p:cNvPr>
          <p:cNvSpPr txBox="1"/>
          <p:nvPr/>
        </p:nvSpPr>
        <p:spPr>
          <a:xfrm>
            <a:off x="2603352" y="3923852"/>
            <a:ext cx="5109880" cy="785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4400" b="1" dirty="0">
                <a:solidFill>
                  <a:schemeClr val="accent3"/>
                </a:solidFill>
              </a:rPr>
              <a:t>+ 60% </a:t>
            </a:r>
            <a:r>
              <a:rPr lang="de-DE" sz="2400" dirty="0" err="1">
                <a:solidFill>
                  <a:schemeClr val="accent3"/>
                </a:solidFill>
              </a:rPr>
              <a:t>electricity</a:t>
            </a:r>
            <a:r>
              <a:rPr lang="de-DE" sz="2400" dirty="0">
                <a:solidFill>
                  <a:schemeClr val="accent3"/>
                </a:solidFill>
              </a:rPr>
              <a:t> </a:t>
            </a:r>
            <a:r>
              <a:rPr lang="de-DE" sz="2400" dirty="0" err="1">
                <a:solidFill>
                  <a:schemeClr val="accent3"/>
                </a:solidFill>
              </a:rPr>
              <a:t>demand</a:t>
            </a:r>
            <a:r>
              <a:rPr lang="de-DE" sz="2400" dirty="0">
                <a:solidFill>
                  <a:schemeClr val="accent3"/>
                </a:solidFill>
              </a:rPr>
              <a:t> </a:t>
            </a:r>
            <a:endParaRPr lang="de-BE" sz="3200" dirty="0" err="1">
              <a:solidFill>
                <a:schemeClr val="accent3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2BC6C74-3B7D-C47E-42E4-5FEE373A0226}"/>
              </a:ext>
            </a:extLst>
          </p:cNvPr>
          <p:cNvSpPr txBox="1"/>
          <p:nvPr/>
        </p:nvSpPr>
        <p:spPr>
          <a:xfrm>
            <a:off x="892904" y="4670166"/>
            <a:ext cx="7161331" cy="785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4400" b="1" dirty="0">
                <a:solidFill>
                  <a:schemeClr val="accent3"/>
                </a:solidFill>
              </a:rPr>
              <a:t>~500.000 km </a:t>
            </a:r>
            <a:r>
              <a:rPr lang="de-DE" sz="2400" dirty="0" err="1">
                <a:solidFill>
                  <a:schemeClr val="accent3"/>
                </a:solidFill>
              </a:rPr>
              <a:t>grid</a:t>
            </a:r>
            <a:r>
              <a:rPr lang="de-DE" sz="2400" dirty="0">
                <a:solidFill>
                  <a:schemeClr val="accent3"/>
                </a:solidFill>
              </a:rPr>
              <a:t> </a:t>
            </a:r>
            <a:r>
              <a:rPr lang="de-DE" sz="2400" dirty="0" err="1">
                <a:solidFill>
                  <a:schemeClr val="accent3"/>
                </a:solidFill>
              </a:rPr>
              <a:t>modernization</a:t>
            </a:r>
            <a:endParaRPr lang="de-BE" sz="3200" dirty="0" err="1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E8C6B87-1AAF-6B79-E773-684E6D98230F}"/>
              </a:ext>
            </a:extLst>
          </p:cNvPr>
          <p:cNvSpPr txBox="1"/>
          <p:nvPr/>
        </p:nvSpPr>
        <p:spPr>
          <a:xfrm>
            <a:off x="1910967" y="5502542"/>
            <a:ext cx="5109880" cy="785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4400" b="1" dirty="0">
                <a:solidFill>
                  <a:schemeClr val="accent3"/>
                </a:solidFill>
              </a:rPr>
              <a:t>&gt;€500bn </a:t>
            </a:r>
            <a:r>
              <a:rPr lang="de-DE" sz="2400" dirty="0" err="1">
                <a:solidFill>
                  <a:schemeClr val="accent3"/>
                </a:solidFill>
              </a:rPr>
              <a:t>grid</a:t>
            </a:r>
            <a:r>
              <a:rPr lang="de-DE" sz="2400" dirty="0">
                <a:solidFill>
                  <a:schemeClr val="accent3"/>
                </a:solidFill>
              </a:rPr>
              <a:t> </a:t>
            </a:r>
            <a:r>
              <a:rPr lang="de-DE" sz="2400" dirty="0" err="1">
                <a:solidFill>
                  <a:schemeClr val="accent3"/>
                </a:solidFill>
              </a:rPr>
              <a:t>investments</a:t>
            </a:r>
            <a:endParaRPr lang="de-BE" sz="3200" dirty="0" err="1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1293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E81B99-FE87-F3F0-AA6D-47E0DDA2E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Energy, 2025 | SE CM GEA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0C21AB-737A-24F0-42B4-7C137C0A4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0333A89-57E0-5C82-ED0D-B1AE6DF34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" y="4798"/>
            <a:ext cx="4952925" cy="3695833"/>
          </a:xfrm>
        </p:spPr>
        <p:txBody>
          <a:bodyPr anchor="t">
            <a:normAutofit/>
          </a:bodyPr>
          <a:lstStyle/>
          <a:p>
            <a:r>
              <a:rPr lang="en-US" sz="4400" noProof="0" dirty="0"/>
              <a:t>More capacity instead of complexity. </a:t>
            </a:r>
          </a:p>
        </p:txBody>
      </p:sp>
      <p:sp>
        <p:nvSpPr>
          <p:cNvPr id="7" name="Freeform 294">
            <a:extLst>
              <a:ext uri="{FF2B5EF4-FFF2-40B4-BE49-F238E27FC236}">
                <a16:creationId xmlns:a16="http://schemas.microsoft.com/office/drawing/2014/main" id="{B252882F-5DE2-F7BD-979E-29A21045A087}"/>
              </a:ext>
            </a:extLst>
          </p:cNvPr>
          <p:cNvSpPr>
            <a:spLocks noChangeAspect="1"/>
          </p:cNvSpPr>
          <p:nvPr/>
        </p:nvSpPr>
        <p:spPr bwMode="auto">
          <a:xfrm>
            <a:off x="5987778" y="109768"/>
            <a:ext cx="3070161" cy="3094942"/>
          </a:xfrm>
          <a:custGeom>
            <a:avLst/>
            <a:gdLst/>
            <a:ahLst/>
            <a:cxnLst/>
            <a:rect l="l" t="t" r="r" b="b"/>
            <a:pathLst>
              <a:path w="6443662" h="6495671">
                <a:moveTo>
                  <a:pt x="3643311" y="6406771"/>
                </a:moveTo>
                <a:lnTo>
                  <a:pt x="3690936" y="6419471"/>
                </a:lnTo>
                <a:lnTo>
                  <a:pt x="3722686" y="6438521"/>
                </a:lnTo>
                <a:lnTo>
                  <a:pt x="3751261" y="6435346"/>
                </a:lnTo>
                <a:lnTo>
                  <a:pt x="3770311" y="6428996"/>
                </a:lnTo>
                <a:lnTo>
                  <a:pt x="3802061" y="6428996"/>
                </a:lnTo>
                <a:lnTo>
                  <a:pt x="3811586" y="6425821"/>
                </a:lnTo>
                <a:lnTo>
                  <a:pt x="3814761" y="6432171"/>
                </a:lnTo>
                <a:lnTo>
                  <a:pt x="3833811" y="6435346"/>
                </a:lnTo>
                <a:lnTo>
                  <a:pt x="3941761" y="6435346"/>
                </a:lnTo>
                <a:lnTo>
                  <a:pt x="3960811" y="6438521"/>
                </a:lnTo>
                <a:lnTo>
                  <a:pt x="3960811" y="6460746"/>
                </a:lnTo>
                <a:lnTo>
                  <a:pt x="3941761" y="6473446"/>
                </a:lnTo>
                <a:lnTo>
                  <a:pt x="3846511" y="6489321"/>
                </a:lnTo>
                <a:lnTo>
                  <a:pt x="3798886" y="6495671"/>
                </a:lnTo>
                <a:lnTo>
                  <a:pt x="3779836" y="6495671"/>
                </a:lnTo>
                <a:lnTo>
                  <a:pt x="3779836" y="6479796"/>
                </a:lnTo>
                <a:lnTo>
                  <a:pt x="3713161" y="6463921"/>
                </a:lnTo>
                <a:lnTo>
                  <a:pt x="3665536" y="6460746"/>
                </a:lnTo>
                <a:lnTo>
                  <a:pt x="3649661" y="6460746"/>
                </a:lnTo>
                <a:lnTo>
                  <a:pt x="3636961" y="6451221"/>
                </a:lnTo>
                <a:lnTo>
                  <a:pt x="3640136" y="6432171"/>
                </a:lnTo>
                <a:close/>
                <a:moveTo>
                  <a:pt x="4065586" y="6349621"/>
                </a:moveTo>
                <a:lnTo>
                  <a:pt x="4056061" y="6378196"/>
                </a:lnTo>
                <a:lnTo>
                  <a:pt x="4068761" y="6394071"/>
                </a:lnTo>
                <a:lnTo>
                  <a:pt x="4059236" y="6409946"/>
                </a:lnTo>
                <a:lnTo>
                  <a:pt x="4056061" y="6397246"/>
                </a:lnTo>
                <a:lnTo>
                  <a:pt x="4049711" y="6378196"/>
                </a:lnTo>
                <a:lnTo>
                  <a:pt x="4056061" y="6359146"/>
                </a:lnTo>
                <a:close/>
                <a:moveTo>
                  <a:pt x="4843462" y="6301996"/>
                </a:moveTo>
                <a:lnTo>
                  <a:pt x="4852987" y="6333746"/>
                </a:lnTo>
                <a:lnTo>
                  <a:pt x="4878387" y="6355971"/>
                </a:lnTo>
                <a:lnTo>
                  <a:pt x="4827587" y="6365496"/>
                </a:lnTo>
                <a:lnTo>
                  <a:pt x="4824412" y="6384546"/>
                </a:lnTo>
                <a:lnTo>
                  <a:pt x="4805362" y="6400421"/>
                </a:lnTo>
                <a:lnTo>
                  <a:pt x="4783137" y="6409946"/>
                </a:lnTo>
                <a:lnTo>
                  <a:pt x="4764087" y="6416296"/>
                </a:lnTo>
                <a:lnTo>
                  <a:pt x="4751387" y="6435346"/>
                </a:lnTo>
                <a:lnTo>
                  <a:pt x="4729162" y="6428996"/>
                </a:lnTo>
                <a:lnTo>
                  <a:pt x="4681537" y="6416296"/>
                </a:lnTo>
                <a:lnTo>
                  <a:pt x="4668837" y="6371846"/>
                </a:lnTo>
                <a:lnTo>
                  <a:pt x="4700587" y="6355971"/>
                </a:lnTo>
                <a:lnTo>
                  <a:pt x="4725987" y="6355971"/>
                </a:lnTo>
                <a:lnTo>
                  <a:pt x="4741862" y="6324221"/>
                </a:lnTo>
                <a:lnTo>
                  <a:pt x="4776787" y="6321046"/>
                </a:lnTo>
                <a:lnTo>
                  <a:pt x="4814887" y="6311521"/>
                </a:lnTo>
                <a:close/>
                <a:moveTo>
                  <a:pt x="4170361" y="6251196"/>
                </a:moveTo>
                <a:lnTo>
                  <a:pt x="4170361" y="6257546"/>
                </a:lnTo>
                <a:lnTo>
                  <a:pt x="4157661" y="6295646"/>
                </a:lnTo>
                <a:lnTo>
                  <a:pt x="4125911" y="6333746"/>
                </a:lnTo>
                <a:lnTo>
                  <a:pt x="4122736" y="6282946"/>
                </a:lnTo>
                <a:close/>
                <a:moveTo>
                  <a:pt x="4065586" y="6200396"/>
                </a:moveTo>
                <a:lnTo>
                  <a:pt x="4024311" y="6232146"/>
                </a:lnTo>
                <a:lnTo>
                  <a:pt x="4040186" y="6203571"/>
                </a:lnTo>
                <a:close/>
                <a:moveTo>
                  <a:pt x="4021136" y="6076571"/>
                </a:moveTo>
                <a:lnTo>
                  <a:pt x="3989386" y="6098796"/>
                </a:lnTo>
                <a:lnTo>
                  <a:pt x="3973511" y="6079746"/>
                </a:lnTo>
                <a:lnTo>
                  <a:pt x="4002086" y="6079746"/>
                </a:lnTo>
                <a:close/>
                <a:moveTo>
                  <a:pt x="2444750" y="6022596"/>
                </a:moveTo>
                <a:lnTo>
                  <a:pt x="2476500" y="6032121"/>
                </a:lnTo>
                <a:lnTo>
                  <a:pt x="2520950" y="6057521"/>
                </a:lnTo>
                <a:lnTo>
                  <a:pt x="2590800" y="6054346"/>
                </a:lnTo>
                <a:lnTo>
                  <a:pt x="2673350" y="6044821"/>
                </a:lnTo>
                <a:lnTo>
                  <a:pt x="2733675" y="6028946"/>
                </a:lnTo>
                <a:lnTo>
                  <a:pt x="2730500" y="6032121"/>
                </a:lnTo>
                <a:lnTo>
                  <a:pt x="2673350" y="6111496"/>
                </a:lnTo>
                <a:lnTo>
                  <a:pt x="2663825" y="6155946"/>
                </a:lnTo>
                <a:lnTo>
                  <a:pt x="2673350" y="6181346"/>
                </a:lnTo>
                <a:lnTo>
                  <a:pt x="2676525" y="6209921"/>
                </a:lnTo>
                <a:lnTo>
                  <a:pt x="2654300" y="6251196"/>
                </a:lnTo>
                <a:lnTo>
                  <a:pt x="2622550" y="6244846"/>
                </a:lnTo>
                <a:lnTo>
                  <a:pt x="2568575" y="6213096"/>
                </a:lnTo>
                <a:lnTo>
                  <a:pt x="2511425" y="6171821"/>
                </a:lnTo>
                <a:lnTo>
                  <a:pt x="2451100" y="6133721"/>
                </a:lnTo>
                <a:lnTo>
                  <a:pt x="2384425" y="6098796"/>
                </a:lnTo>
                <a:lnTo>
                  <a:pt x="2368550" y="6067046"/>
                </a:lnTo>
                <a:lnTo>
                  <a:pt x="2378075" y="6038471"/>
                </a:lnTo>
                <a:close/>
                <a:moveTo>
                  <a:pt x="3284536" y="6016246"/>
                </a:moveTo>
                <a:lnTo>
                  <a:pt x="3306761" y="6073396"/>
                </a:lnTo>
                <a:lnTo>
                  <a:pt x="3265486" y="6060696"/>
                </a:lnTo>
                <a:close/>
                <a:moveTo>
                  <a:pt x="3878261" y="5974971"/>
                </a:moveTo>
                <a:lnTo>
                  <a:pt x="3910011" y="5978146"/>
                </a:lnTo>
                <a:lnTo>
                  <a:pt x="3903661" y="6028946"/>
                </a:lnTo>
                <a:lnTo>
                  <a:pt x="3878261" y="6016246"/>
                </a:lnTo>
                <a:close/>
                <a:moveTo>
                  <a:pt x="3589336" y="5927346"/>
                </a:moveTo>
                <a:lnTo>
                  <a:pt x="3640136" y="5971796"/>
                </a:lnTo>
                <a:lnTo>
                  <a:pt x="3665536" y="5981321"/>
                </a:lnTo>
                <a:lnTo>
                  <a:pt x="3694111" y="6016246"/>
                </a:lnTo>
                <a:lnTo>
                  <a:pt x="3709986" y="6044821"/>
                </a:lnTo>
                <a:lnTo>
                  <a:pt x="3738561" y="6051171"/>
                </a:lnTo>
                <a:lnTo>
                  <a:pt x="3722686" y="6073396"/>
                </a:lnTo>
                <a:lnTo>
                  <a:pt x="3697286" y="6051171"/>
                </a:lnTo>
                <a:lnTo>
                  <a:pt x="3665536" y="6016246"/>
                </a:lnTo>
                <a:lnTo>
                  <a:pt x="3621086" y="5987671"/>
                </a:lnTo>
                <a:lnTo>
                  <a:pt x="3570286" y="5959096"/>
                </a:lnTo>
                <a:lnTo>
                  <a:pt x="3538536" y="5959096"/>
                </a:lnTo>
                <a:close/>
                <a:moveTo>
                  <a:pt x="3932236" y="5867021"/>
                </a:moveTo>
                <a:lnTo>
                  <a:pt x="3944936" y="5914646"/>
                </a:lnTo>
                <a:lnTo>
                  <a:pt x="3887786" y="5905121"/>
                </a:lnTo>
                <a:lnTo>
                  <a:pt x="3868736" y="5889246"/>
                </a:lnTo>
                <a:lnTo>
                  <a:pt x="3881436" y="5873371"/>
                </a:lnTo>
                <a:close/>
                <a:moveTo>
                  <a:pt x="1466850" y="5603496"/>
                </a:moveTo>
                <a:lnTo>
                  <a:pt x="1479550" y="5603496"/>
                </a:lnTo>
                <a:lnTo>
                  <a:pt x="1508125" y="5613021"/>
                </a:lnTo>
                <a:lnTo>
                  <a:pt x="1501775" y="5638421"/>
                </a:lnTo>
                <a:lnTo>
                  <a:pt x="1466850" y="5619371"/>
                </a:lnTo>
                <a:close/>
                <a:moveTo>
                  <a:pt x="1393825" y="5597146"/>
                </a:moveTo>
                <a:lnTo>
                  <a:pt x="1384300" y="5622546"/>
                </a:lnTo>
                <a:lnTo>
                  <a:pt x="1397000" y="5628896"/>
                </a:lnTo>
                <a:lnTo>
                  <a:pt x="1419225" y="5638421"/>
                </a:lnTo>
                <a:lnTo>
                  <a:pt x="1384300" y="5682871"/>
                </a:lnTo>
                <a:lnTo>
                  <a:pt x="1349375" y="5682871"/>
                </a:lnTo>
                <a:lnTo>
                  <a:pt x="1301750" y="5644771"/>
                </a:lnTo>
                <a:lnTo>
                  <a:pt x="1301750" y="5622546"/>
                </a:lnTo>
                <a:close/>
                <a:moveTo>
                  <a:pt x="2073275" y="5543171"/>
                </a:moveTo>
                <a:lnTo>
                  <a:pt x="2105025" y="5593971"/>
                </a:lnTo>
                <a:lnTo>
                  <a:pt x="2120900" y="5654296"/>
                </a:lnTo>
                <a:lnTo>
                  <a:pt x="2095500" y="5682871"/>
                </a:lnTo>
                <a:lnTo>
                  <a:pt x="2098675" y="5720971"/>
                </a:lnTo>
                <a:lnTo>
                  <a:pt x="2092325" y="5749546"/>
                </a:lnTo>
                <a:lnTo>
                  <a:pt x="2057400" y="5844796"/>
                </a:lnTo>
                <a:lnTo>
                  <a:pt x="1984375" y="5867021"/>
                </a:lnTo>
                <a:lnTo>
                  <a:pt x="1949450" y="5832096"/>
                </a:lnTo>
                <a:lnTo>
                  <a:pt x="1965325" y="5736846"/>
                </a:lnTo>
                <a:lnTo>
                  <a:pt x="1971675" y="5666996"/>
                </a:lnTo>
                <a:lnTo>
                  <a:pt x="1949450" y="5616196"/>
                </a:lnTo>
                <a:lnTo>
                  <a:pt x="1958975" y="5568571"/>
                </a:lnTo>
                <a:lnTo>
                  <a:pt x="2003425" y="5584446"/>
                </a:lnTo>
                <a:lnTo>
                  <a:pt x="2035175" y="5565396"/>
                </a:lnTo>
                <a:close/>
                <a:moveTo>
                  <a:pt x="2089150" y="5333621"/>
                </a:moveTo>
                <a:lnTo>
                  <a:pt x="2111375" y="5333621"/>
                </a:lnTo>
                <a:lnTo>
                  <a:pt x="2120900" y="5352671"/>
                </a:lnTo>
                <a:lnTo>
                  <a:pt x="2105025" y="5463796"/>
                </a:lnTo>
                <a:lnTo>
                  <a:pt x="2076450" y="5517771"/>
                </a:lnTo>
                <a:lnTo>
                  <a:pt x="2044700" y="5501896"/>
                </a:lnTo>
                <a:lnTo>
                  <a:pt x="2022475" y="5441571"/>
                </a:lnTo>
                <a:lnTo>
                  <a:pt x="2022475" y="5393946"/>
                </a:lnTo>
                <a:lnTo>
                  <a:pt x="2035175" y="5355846"/>
                </a:lnTo>
                <a:lnTo>
                  <a:pt x="2076450" y="5343146"/>
                </a:lnTo>
                <a:close/>
                <a:moveTo>
                  <a:pt x="2451100" y="5200271"/>
                </a:moveTo>
                <a:lnTo>
                  <a:pt x="2447925" y="5203446"/>
                </a:lnTo>
                <a:lnTo>
                  <a:pt x="2447925" y="5206621"/>
                </a:lnTo>
                <a:lnTo>
                  <a:pt x="2447925" y="5209796"/>
                </a:lnTo>
                <a:lnTo>
                  <a:pt x="2451100" y="5212971"/>
                </a:lnTo>
                <a:lnTo>
                  <a:pt x="2454275" y="5212971"/>
                </a:lnTo>
                <a:lnTo>
                  <a:pt x="2454275" y="5209796"/>
                </a:lnTo>
                <a:lnTo>
                  <a:pt x="2457450" y="5209796"/>
                </a:lnTo>
                <a:lnTo>
                  <a:pt x="2457450" y="5206621"/>
                </a:lnTo>
                <a:lnTo>
                  <a:pt x="2457450" y="5200271"/>
                </a:lnTo>
                <a:lnTo>
                  <a:pt x="2454275" y="5200271"/>
                </a:lnTo>
                <a:close/>
                <a:moveTo>
                  <a:pt x="2689225" y="3709609"/>
                </a:moveTo>
                <a:lnTo>
                  <a:pt x="2708275" y="3747709"/>
                </a:lnTo>
                <a:lnTo>
                  <a:pt x="2701925" y="3760409"/>
                </a:lnTo>
                <a:lnTo>
                  <a:pt x="2663825" y="3747709"/>
                </a:lnTo>
                <a:close/>
                <a:moveTo>
                  <a:pt x="2511425" y="3649284"/>
                </a:moveTo>
                <a:lnTo>
                  <a:pt x="2533650" y="3671509"/>
                </a:lnTo>
                <a:lnTo>
                  <a:pt x="2549525" y="3665159"/>
                </a:lnTo>
                <a:lnTo>
                  <a:pt x="2555875" y="3693734"/>
                </a:lnTo>
                <a:lnTo>
                  <a:pt x="2533650" y="3700084"/>
                </a:lnTo>
                <a:lnTo>
                  <a:pt x="2511425" y="3690559"/>
                </a:lnTo>
                <a:lnTo>
                  <a:pt x="2489200" y="3674684"/>
                </a:lnTo>
                <a:lnTo>
                  <a:pt x="2495550" y="3652459"/>
                </a:lnTo>
                <a:close/>
                <a:moveTo>
                  <a:pt x="2803525" y="3633409"/>
                </a:moveTo>
                <a:lnTo>
                  <a:pt x="2832100" y="3655634"/>
                </a:lnTo>
                <a:lnTo>
                  <a:pt x="2819400" y="3671509"/>
                </a:lnTo>
                <a:lnTo>
                  <a:pt x="2797175" y="3649284"/>
                </a:lnTo>
                <a:close/>
                <a:moveTo>
                  <a:pt x="2413000" y="3554034"/>
                </a:moveTo>
                <a:lnTo>
                  <a:pt x="2463800" y="3560384"/>
                </a:lnTo>
                <a:lnTo>
                  <a:pt x="2460625" y="3573084"/>
                </a:lnTo>
                <a:lnTo>
                  <a:pt x="2476500" y="3557209"/>
                </a:lnTo>
                <a:lnTo>
                  <a:pt x="2486025" y="3595309"/>
                </a:lnTo>
                <a:lnTo>
                  <a:pt x="2476500" y="3627059"/>
                </a:lnTo>
                <a:lnTo>
                  <a:pt x="2428875" y="3620709"/>
                </a:lnTo>
                <a:lnTo>
                  <a:pt x="2413000" y="3588959"/>
                </a:lnTo>
                <a:close/>
                <a:moveTo>
                  <a:pt x="1206500" y="3554033"/>
                </a:moveTo>
                <a:lnTo>
                  <a:pt x="1228725" y="3579433"/>
                </a:lnTo>
                <a:lnTo>
                  <a:pt x="1203325" y="3595308"/>
                </a:lnTo>
                <a:lnTo>
                  <a:pt x="1187450" y="3573083"/>
                </a:lnTo>
                <a:close/>
                <a:moveTo>
                  <a:pt x="2635250" y="3506409"/>
                </a:moveTo>
                <a:lnTo>
                  <a:pt x="2628900" y="3576259"/>
                </a:lnTo>
                <a:lnTo>
                  <a:pt x="2613025" y="3620709"/>
                </a:lnTo>
                <a:lnTo>
                  <a:pt x="2590800" y="3649284"/>
                </a:lnTo>
                <a:lnTo>
                  <a:pt x="2555875" y="3642934"/>
                </a:lnTo>
                <a:lnTo>
                  <a:pt x="2555875" y="3633409"/>
                </a:lnTo>
                <a:lnTo>
                  <a:pt x="2543175" y="3623884"/>
                </a:lnTo>
                <a:lnTo>
                  <a:pt x="2520950" y="3608009"/>
                </a:lnTo>
                <a:lnTo>
                  <a:pt x="2514600" y="3554034"/>
                </a:lnTo>
                <a:lnTo>
                  <a:pt x="2552700" y="3519109"/>
                </a:lnTo>
                <a:close/>
                <a:moveTo>
                  <a:pt x="1260475" y="3427033"/>
                </a:moveTo>
                <a:lnTo>
                  <a:pt x="1254125" y="3446083"/>
                </a:lnTo>
                <a:lnTo>
                  <a:pt x="1238250" y="3458783"/>
                </a:lnTo>
                <a:lnTo>
                  <a:pt x="1209675" y="3461958"/>
                </a:lnTo>
                <a:lnTo>
                  <a:pt x="1231900" y="3436558"/>
                </a:lnTo>
                <a:close/>
                <a:moveTo>
                  <a:pt x="3003550" y="3354008"/>
                </a:moveTo>
                <a:lnTo>
                  <a:pt x="2968625" y="3442908"/>
                </a:lnTo>
                <a:lnTo>
                  <a:pt x="2940050" y="3509583"/>
                </a:lnTo>
                <a:lnTo>
                  <a:pt x="2943225" y="3465133"/>
                </a:lnTo>
                <a:lnTo>
                  <a:pt x="2955925" y="3427033"/>
                </a:lnTo>
                <a:close/>
                <a:moveTo>
                  <a:pt x="3122612" y="3274633"/>
                </a:moveTo>
                <a:lnTo>
                  <a:pt x="3144837" y="3277808"/>
                </a:lnTo>
                <a:lnTo>
                  <a:pt x="3144837" y="3293683"/>
                </a:lnTo>
                <a:lnTo>
                  <a:pt x="3141662" y="3300033"/>
                </a:lnTo>
                <a:lnTo>
                  <a:pt x="3135312" y="3303208"/>
                </a:lnTo>
                <a:lnTo>
                  <a:pt x="3128962" y="3322258"/>
                </a:lnTo>
                <a:lnTo>
                  <a:pt x="3128962" y="3341308"/>
                </a:lnTo>
                <a:lnTo>
                  <a:pt x="3111500" y="3379408"/>
                </a:lnTo>
                <a:lnTo>
                  <a:pt x="3086100" y="3398458"/>
                </a:lnTo>
                <a:lnTo>
                  <a:pt x="3079750" y="3334958"/>
                </a:lnTo>
                <a:lnTo>
                  <a:pt x="3095625" y="3306383"/>
                </a:lnTo>
                <a:close/>
                <a:moveTo>
                  <a:pt x="1069975" y="3252409"/>
                </a:moveTo>
                <a:lnTo>
                  <a:pt x="1069974" y="3252410"/>
                </a:lnTo>
                <a:lnTo>
                  <a:pt x="1069974" y="3255583"/>
                </a:lnTo>
                <a:lnTo>
                  <a:pt x="1069975" y="3255583"/>
                </a:lnTo>
                <a:close/>
                <a:moveTo>
                  <a:pt x="1022350" y="3211134"/>
                </a:moveTo>
                <a:lnTo>
                  <a:pt x="1041400" y="3214309"/>
                </a:lnTo>
                <a:lnTo>
                  <a:pt x="1101725" y="3233359"/>
                </a:lnTo>
                <a:lnTo>
                  <a:pt x="1089025" y="3242884"/>
                </a:lnTo>
                <a:lnTo>
                  <a:pt x="1069976" y="3255583"/>
                </a:lnTo>
                <a:lnTo>
                  <a:pt x="1089024" y="3258758"/>
                </a:lnTo>
                <a:lnTo>
                  <a:pt x="1111249" y="3252408"/>
                </a:lnTo>
                <a:lnTo>
                  <a:pt x="1146174" y="3255583"/>
                </a:lnTo>
                <a:lnTo>
                  <a:pt x="1168399" y="3271458"/>
                </a:lnTo>
                <a:lnTo>
                  <a:pt x="1174749" y="3331783"/>
                </a:lnTo>
                <a:lnTo>
                  <a:pt x="1177924" y="3382583"/>
                </a:lnTo>
                <a:lnTo>
                  <a:pt x="1155699" y="3407983"/>
                </a:lnTo>
                <a:lnTo>
                  <a:pt x="1117599" y="3423858"/>
                </a:lnTo>
                <a:lnTo>
                  <a:pt x="1101015" y="3414382"/>
                </a:lnTo>
                <a:lnTo>
                  <a:pt x="1097004" y="3416046"/>
                </a:lnTo>
                <a:lnTo>
                  <a:pt x="1098550" y="3420684"/>
                </a:lnTo>
                <a:lnTo>
                  <a:pt x="1076325" y="3433384"/>
                </a:lnTo>
                <a:lnTo>
                  <a:pt x="1079500" y="3455609"/>
                </a:lnTo>
                <a:lnTo>
                  <a:pt x="1076325" y="3474659"/>
                </a:lnTo>
                <a:lnTo>
                  <a:pt x="1076325" y="3484184"/>
                </a:lnTo>
                <a:lnTo>
                  <a:pt x="1073150" y="3500059"/>
                </a:lnTo>
                <a:lnTo>
                  <a:pt x="1063625" y="3550859"/>
                </a:lnTo>
                <a:lnTo>
                  <a:pt x="1035050" y="3588959"/>
                </a:lnTo>
                <a:lnTo>
                  <a:pt x="1000125" y="3633409"/>
                </a:lnTo>
                <a:lnTo>
                  <a:pt x="987425" y="3655634"/>
                </a:lnTo>
                <a:lnTo>
                  <a:pt x="968375" y="3652459"/>
                </a:lnTo>
                <a:lnTo>
                  <a:pt x="939800" y="3639759"/>
                </a:lnTo>
                <a:lnTo>
                  <a:pt x="914400" y="3639759"/>
                </a:lnTo>
                <a:lnTo>
                  <a:pt x="885825" y="3633409"/>
                </a:lnTo>
                <a:lnTo>
                  <a:pt x="844550" y="3649284"/>
                </a:lnTo>
                <a:lnTo>
                  <a:pt x="806450" y="3655634"/>
                </a:lnTo>
                <a:lnTo>
                  <a:pt x="723900" y="3658809"/>
                </a:lnTo>
                <a:lnTo>
                  <a:pt x="673100" y="3627059"/>
                </a:lnTo>
                <a:lnTo>
                  <a:pt x="660400" y="3614359"/>
                </a:lnTo>
                <a:lnTo>
                  <a:pt x="647700" y="3569909"/>
                </a:lnTo>
                <a:lnTo>
                  <a:pt x="666750" y="3519109"/>
                </a:lnTo>
                <a:lnTo>
                  <a:pt x="688975" y="3522284"/>
                </a:lnTo>
                <a:lnTo>
                  <a:pt x="720725" y="3538159"/>
                </a:lnTo>
                <a:lnTo>
                  <a:pt x="720725" y="3515934"/>
                </a:lnTo>
                <a:lnTo>
                  <a:pt x="749300" y="3487359"/>
                </a:lnTo>
                <a:lnTo>
                  <a:pt x="781050" y="3468309"/>
                </a:lnTo>
                <a:lnTo>
                  <a:pt x="809625" y="3436559"/>
                </a:lnTo>
                <a:lnTo>
                  <a:pt x="787400" y="3411159"/>
                </a:lnTo>
                <a:lnTo>
                  <a:pt x="755650" y="3373059"/>
                </a:lnTo>
                <a:lnTo>
                  <a:pt x="793750" y="3338134"/>
                </a:lnTo>
                <a:lnTo>
                  <a:pt x="803275" y="3287334"/>
                </a:lnTo>
                <a:lnTo>
                  <a:pt x="800100" y="3280984"/>
                </a:lnTo>
                <a:lnTo>
                  <a:pt x="809625" y="3265109"/>
                </a:lnTo>
                <a:lnTo>
                  <a:pt x="831850" y="3261934"/>
                </a:lnTo>
                <a:lnTo>
                  <a:pt x="873125" y="3280984"/>
                </a:lnTo>
                <a:lnTo>
                  <a:pt x="927100" y="3300034"/>
                </a:lnTo>
                <a:lnTo>
                  <a:pt x="949325" y="3296859"/>
                </a:lnTo>
                <a:lnTo>
                  <a:pt x="977900" y="3284159"/>
                </a:lnTo>
                <a:lnTo>
                  <a:pt x="962025" y="3274634"/>
                </a:lnTo>
                <a:lnTo>
                  <a:pt x="955675" y="3249234"/>
                </a:lnTo>
                <a:lnTo>
                  <a:pt x="962025" y="3242884"/>
                </a:lnTo>
                <a:lnTo>
                  <a:pt x="977900" y="3223834"/>
                </a:lnTo>
                <a:lnTo>
                  <a:pt x="990600" y="3220659"/>
                </a:lnTo>
                <a:lnTo>
                  <a:pt x="1006475" y="3214309"/>
                </a:lnTo>
                <a:lnTo>
                  <a:pt x="1012825" y="3214309"/>
                </a:lnTo>
                <a:close/>
                <a:moveTo>
                  <a:pt x="3443287" y="3176209"/>
                </a:moveTo>
                <a:lnTo>
                  <a:pt x="3455987" y="3188909"/>
                </a:lnTo>
                <a:lnTo>
                  <a:pt x="3446462" y="3207959"/>
                </a:lnTo>
                <a:lnTo>
                  <a:pt x="3424237" y="3230184"/>
                </a:lnTo>
                <a:lnTo>
                  <a:pt x="3382962" y="3268284"/>
                </a:lnTo>
                <a:lnTo>
                  <a:pt x="3370262" y="3268284"/>
                </a:lnTo>
                <a:lnTo>
                  <a:pt x="3360737" y="3214309"/>
                </a:lnTo>
                <a:lnTo>
                  <a:pt x="3382962" y="3185734"/>
                </a:lnTo>
                <a:close/>
                <a:moveTo>
                  <a:pt x="1177924" y="3173033"/>
                </a:moveTo>
                <a:lnTo>
                  <a:pt x="1200149" y="3173033"/>
                </a:lnTo>
                <a:lnTo>
                  <a:pt x="1184274" y="3211133"/>
                </a:lnTo>
                <a:lnTo>
                  <a:pt x="1158874" y="3195258"/>
                </a:lnTo>
                <a:close/>
                <a:moveTo>
                  <a:pt x="3411537" y="3109534"/>
                </a:moveTo>
                <a:lnTo>
                  <a:pt x="3436937" y="3125409"/>
                </a:lnTo>
                <a:lnTo>
                  <a:pt x="3443287" y="3144459"/>
                </a:lnTo>
                <a:lnTo>
                  <a:pt x="3427412" y="3150809"/>
                </a:lnTo>
                <a:lnTo>
                  <a:pt x="3398837" y="3144459"/>
                </a:lnTo>
                <a:close/>
                <a:moveTo>
                  <a:pt x="1228724" y="3080958"/>
                </a:moveTo>
                <a:lnTo>
                  <a:pt x="1257299" y="3122233"/>
                </a:lnTo>
                <a:lnTo>
                  <a:pt x="1231899" y="3131758"/>
                </a:lnTo>
                <a:lnTo>
                  <a:pt x="1238249" y="3128583"/>
                </a:lnTo>
                <a:lnTo>
                  <a:pt x="1228724" y="3122233"/>
                </a:lnTo>
                <a:lnTo>
                  <a:pt x="1212849" y="3093658"/>
                </a:lnTo>
                <a:close/>
                <a:moveTo>
                  <a:pt x="1273174" y="2931733"/>
                </a:moveTo>
                <a:lnTo>
                  <a:pt x="1289049" y="2950783"/>
                </a:lnTo>
                <a:lnTo>
                  <a:pt x="1282699" y="2995233"/>
                </a:lnTo>
                <a:lnTo>
                  <a:pt x="1273174" y="3007933"/>
                </a:lnTo>
                <a:lnTo>
                  <a:pt x="1254124" y="3001583"/>
                </a:lnTo>
                <a:lnTo>
                  <a:pt x="1247774" y="2976183"/>
                </a:lnTo>
                <a:lnTo>
                  <a:pt x="1238249" y="2960308"/>
                </a:lnTo>
                <a:close/>
                <a:moveTo>
                  <a:pt x="3214686" y="2925383"/>
                </a:moveTo>
                <a:lnTo>
                  <a:pt x="3240086" y="2944433"/>
                </a:lnTo>
                <a:lnTo>
                  <a:pt x="3224211" y="2969833"/>
                </a:lnTo>
                <a:lnTo>
                  <a:pt x="3205161" y="2973008"/>
                </a:lnTo>
                <a:lnTo>
                  <a:pt x="3198811" y="2941258"/>
                </a:lnTo>
                <a:close/>
                <a:moveTo>
                  <a:pt x="1187449" y="2909508"/>
                </a:moveTo>
                <a:lnTo>
                  <a:pt x="1216024" y="2915858"/>
                </a:lnTo>
                <a:lnTo>
                  <a:pt x="1216024" y="2925383"/>
                </a:lnTo>
                <a:lnTo>
                  <a:pt x="1203324" y="2922208"/>
                </a:lnTo>
                <a:lnTo>
                  <a:pt x="1200149" y="2925383"/>
                </a:lnTo>
                <a:close/>
                <a:moveTo>
                  <a:pt x="1428749" y="2849183"/>
                </a:moveTo>
                <a:lnTo>
                  <a:pt x="1438274" y="2861883"/>
                </a:lnTo>
                <a:lnTo>
                  <a:pt x="1527174" y="2887283"/>
                </a:lnTo>
                <a:lnTo>
                  <a:pt x="1558924" y="2893633"/>
                </a:lnTo>
                <a:lnTo>
                  <a:pt x="1527174" y="2934908"/>
                </a:lnTo>
                <a:lnTo>
                  <a:pt x="1438274" y="2966658"/>
                </a:lnTo>
                <a:lnTo>
                  <a:pt x="1444624" y="2988883"/>
                </a:lnTo>
                <a:lnTo>
                  <a:pt x="1419224" y="2992058"/>
                </a:lnTo>
                <a:lnTo>
                  <a:pt x="1419224" y="3004758"/>
                </a:lnTo>
                <a:lnTo>
                  <a:pt x="1476374" y="3011108"/>
                </a:lnTo>
                <a:lnTo>
                  <a:pt x="1565274" y="3042858"/>
                </a:lnTo>
                <a:lnTo>
                  <a:pt x="1584324" y="3042858"/>
                </a:lnTo>
                <a:lnTo>
                  <a:pt x="1593849" y="3084133"/>
                </a:lnTo>
                <a:lnTo>
                  <a:pt x="1495424" y="3195258"/>
                </a:lnTo>
                <a:lnTo>
                  <a:pt x="1454149" y="3223833"/>
                </a:lnTo>
                <a:lnTo>
                  <a:pt x="1422399" y="3236533"/>
                </a:lnTo>
                <a:lnTo>
                  <a:pt x="1438274" y="3255583"/>
                </a:lnTo>
                <a:lnTo>
                  <a:pt x="1460499" y="3246058"/>
                </a:lnTo>
                <a:lnTo>
                  <a:pt x="1489074" y="3274633"/>
                </a:lnTo>
                <a:lnTo>
                  <a:pt x="1504949" y="3312733"/>
                </a:lnTo>
                <a:lnTo>
                  <a:pt x="1520824" y="3354008"/>
                </a:lnTo>
                <a:lnTo>
                  <a:pt x="1514474" y="3366708"/>
                </a:lnTo>
                <a:lnTo>
                  <a:pt x="1511299" y="3395283"/>
                </a:lnTo>
                <a:lnTo>
                  <a:pt x="1533524" y="3493708"/>
                </a:lnTo>
                <a:lnTo>
                  <a:pt x="1571624" y="3569908"/>
                </a:lnTo>
                <a:lnTo>
                  <a:pt x="1577974" y="3690558"/>
                </a:lnTo>
                <a:lnTo>
                  <a:pt x="1568449" y="3728658"/>
                </a:lnTo>
                <a:lnTo>
                  <a:pt x="1574799" y="3757233"/>
                </a:lnTo>
                <a:lnTo>
                  <a:pt x="1625599" y="3760408"/>
                </a:lnTo>
                <a:lnTo>
                  <a:pt x="1670049" y="3798508"/>
                </a:lnTo>
                <a:lnTo>
                  <a:pt x="1660524" y="3855658"/>
                </a:lnTo>
                <a:lnTo>
                  <a:pt x="1638299" y="3893758"/>
                </a:lnTo>
                <a:lnTo>
                  <a:pt x="1609724" y="3903283"/>
                </a:lnTo>
                <a:lnTo>
                  <a:pt x="1593849" y="3925508"/>
                </a:lnTo>
                <a:lnTo>
                  <a:pt x="1562099" y="3947733"/>
                </a:lnTo>
                <a:lnTo>
                  <a:pt x="1558924" y="3973133"/>
                </a:lnTo>
                <a:lnTo>
                  <a:pt x="1587499" y="3979483"/>
                </a:lnTo>
                <a:lnTo>
                  <a:pt x="1603374" y="3985833"/>
                </a:lnTo>
                <a:lnTo>
                  <a:pt x="1590674" y="4014408"/>
                </a:lnTo>
                <a:lnTo>
                  <a:pt x="1549399" y="4027108"/>
                </a:lnTo>
                <a:lnTo>
                  <a:pt x="1479549" y="4042983"/>
                </a:lnTo>
                <a:lnTo>
                  <a:pt x="1450974" y="4027108"/>
                </a:lnTo>
                <a:lnTo>
                  <a:pt x="1412874" y="4017583"/>
                </a:lnTo>
                <a:lnTo>
                  <a:pt x="1279524" y="3992183"/>
                </a:lnTo>
                <a:lnTo>
                  <a:pt x="1276349" y="4004883"/>
                </a:lnTo>
                <a:lnTo>
                  <a:pt x="1241424" y="3989008"/>
                </a:lnTo>
                <a:lnTo>
                  <a:pt x="1171574" y="3960433"/>
                </a:lnTo>
                <a:lnTo>
                  <a:pt x="1127124" y="3979483"/>
                </a:lnTo>
                <a:lnTo>
                  <a:pt x="1101724" y="3992183"/>
                </a:lnTo>
                <a:lnTo>
                  <a:pt x="1085849" y="3976308"/>
                </a:lnTo>
                <a:lnTo>
                  <a:pt x="1003299" y="3966783"/>
                </a:lnTo>
                <a:lnTo>
                  <a:pt x="946149" y="3976308"/>
                </a:lnTo>
                <a:lnTo>
                  <a:pt x="952499" y="3954083"/>
                </a:lnTo>
                <a:lnTo>
                  <a:pt x="971549" y="3954083"/>
                </a:lnTo>
                <a:lnTo>
                  <a:pt x="996949" y="3944558"/>
                </a:lnTo>
                <a:lnTo>
                  <a:pt x="1063624" y="3909633"/>
                </a:lnTo>
                <a:lnTo>
                  <a:pt x="1114424" y="3865183"/>
                </a:lnTo>
                <a:lnTo>
                  <a:pt x="1155699" y="3868358"/>
                </a:lnTo>
                <a:lnTo>
                  <a:pt x="1190624" y="3890583"/>
                </a:lnTo>
                <a:lnTo>
                  <a:pt x="1216024" y="3893758"/>
                </a:lnTo>
                <a:lnTo>
                  <a:pt x="1225549" y="3877883"/>
                </a:lnTo>
                <a:lnTo>
                  <a:pt x="1276349" y="3846133"/>
                </a:lnTo>
                <a:lnTo>
                  <a:pt x="1247774" y="3852483"/>
                </a:lnTo>
                <a:lnTo>
                  <a:pt x="1235074" y="3849308"/>
                </a:lnTo>
                <a:lnTo>
                  <a:pt x="1206499" y="3862008"/>
                </a:lnTo>
                <a:lnTo>
                  <a:pt x="1181099" y="3852483"/>
                </a:lnTo>
                <a:lnTo>
                  <a:pt x="1165224" y="3827083"/>
                </a:lnTo>
                <a:lnTo>
                  <a:pt x="1146174" y="3804858"/>
                </a:lnTo>
                <a:lnTo>
                  <a:pt x="1146174" y="3798508"/>
                </a:lnTo>
                <a:lnTo>
                  <a:pt x="1120774" y="3779458"/>
                </a:lnTo>
                <a:lnTo>
                  <a:pt x="1101724" y="3776283"/>
                </a:lnTo>
                <a:lnTo>
                  <a:pt x="1076324" y="3766758"/>
                </a:lnTo>
                <a:lnTo>
                  <a:pt x="1063624" y="3763583"/>
                </a:lnTo>
                <a:lnTo>
                  <a:pt x="1060449" y="3735008"/>
                </a:lnTo>
                <a:lnTo>
                  <a:pt x="1082674" y="3722308"/>
                </a:lnTo>
                <a:lnTo>
                  <a:pt x="1111249" y="3728658"/>
                </a:lnTo>
                <a:lnTo>
                  <a:pt x="1133474" y="3722308"/>
                </a:lnTo>
                <a:lnTo>
                  <a:pt x="1171574" y="3715958"/>
                </a:lnTo>
                <a:lnTo>
                  <a:pt x="1200149" y="3661983"/>
                </a:lnTo>
                <a:lnTo>
                  <a:pt x="1184274" y="3627058"/>
                </a:lnTo>
                <a:lnTo>
                  <a:pt x="1171574" y="3633408"/>
                </a:lnTo>
                <a:lnTo>
                  <a:pt x="1149349" y="3633408"/>
                </a:lnTo>
                <a:lnTo>
                  <a:pt x="1181099" y="3608008"/>
                </a:lnTo>
                <a:lnTo>
                  <a:pt x="1222374" y="3588958"/>
                </a:lnTo>
                <a:lnTo>
                  <a:pt x="1241424" y="3588958"/>
                </a:lnTo>
                <a:lnTo>
                  <a:pt x="1250949" y="3585783"/>
                </a:lnTo>
                <a:lnTo>
                  <a:pt x="1254124" y="3592133"/>
                </a:lnTo>
                <a:lnTo>
                  <a:pt x="1279524" y="3598483"/>
                </a:lnTo>
                <a:lnTo>
                  <a:pt x="1317624" y="3598483"/>
                </a:lnTo>
                <a:lnTo>
                  <a:pt x="1333499" y="3538158"/>
                </a:lnTo>
                <a:lnTo>
                  <a:pt x="1333499" y="3500058"/>
                </a:lnTo>
                <a:lnTo>
                  <a:pt x="1327149" y="3481008"/>
                </a:lnTo>
                <a:lnTo>
                  <a:pt x="1323974" y="3465133"/>
                </a:lnTo>
                <a:lnTo>
                  <a:pt x="1327149" y="3423858"/>
                </a:lnTo>
                <a:lnTo>
                  <a:pt x="1355724" y="3392108"/>
                </a:lnTo>
                <a:lnTo>
                  <a:pt x="1276349" y="3382583"/>
                </a:lnTo>
                <a:lnTo>
                  <a:pt x="1219199" y="3341308"/>
                </a:lnTo>
                <a:lnTo>
                  <a:pt x="1282699" y="3280983"/>
                </a:lnTo>
                <a:lnTo>
                  <a:pt x="1289049" y="3255583"/>
                </a:lnTo>
                <a:lnTo>
                  <a:pt x="1279524" y="3239708"/>
                </a:lnTo>
                <a:lnTo>
                  <a:pt x="1289049" y="3217483"/>
                </a:lnTo>
                <a:lnTo>
                  <a:pt x="1301749" y="3176208"/>
                </a:lnTo>
                <a:lnTo>
                  <a:pt x="1285874" y="3211133"/>
                </a:lnTo>
                <a:lnTo>
                  <a:pt x="1260474" y="3204783"/>
                </a:lnTo>
                <a:lnTo>
                  <a:pt x="1266824" y="3182558"/>
                </a:lnTo>
                <a:lnTo>
                  <a:pt x="1260474" y="3188908"/>
                </a:lnTo>
                <a:lnTo>
                  <a:pt x="1247774" y="3207958"/>
                </a:lnTo>
                <a:lnTo>
                  <a:pt x="1231899" y="3236533"/>
                </a:lnTo>
                <a:lnTo>
                  <a:pt x="1193799" y="3268283"/>
                </a:lnTo>
                <a:lnTo>
                  <a:pt x="1212849" y="3230183"/>
                </a:lnTo>
                <a:lnTo>
                  <a:pt x="1250949" y="3157158"/>
                </a:lnTo>
                <a:lnTo>
                  <a:pt x="1269999" y="3109533"/>
                </a:lnTo>
                <a:lnTo>
                  <a:pt x="1250949" y="3096833"/>
                </a:lnTo>
                <a:lnTo>
                  <a:pt x="1235074" y="3068258"/>
                </a:lnTo>
                <a:lnTo>
                  <a:pt x="1241424" y="3061908"/>
                </a:lnTo>
                <a:lnTo>
                  <a:pt x="1269999" y="3058733"/>
                </a:lnTo>
                <a:lnTo>
                  <a:pt x="1282699" y="3058733"/>
                </a:lnTo>
                <a:lnTo>
                  <a:pt x="1269999" y="3052383"/>
                </a:lnTo>
                <a:lnTo>
                  <a:pt x="1279524" y="3036508"/>
                </a:lnTo>
                <a:lnTo>
                  <a:pt x="1301749" y="3046033"/>
                </a:lnTo>
                <a:lnTo>
                  <a:pt x="1285874" y="3033333"/>
                </a:lnTo>
                <a:lnTo>
                  <a:pt x="1301749" y="2998408"/>
                </a:lnTo>
                <a:lnTo>
                  <a:pt x="1304924" y="2966658"/>
                </a:lnTo>
                <a:lnTo>
                  <a:pt x="1327149" y="2947608"/>
                </a:lnTo>
                <a:lnTo>
                  <a:pt x="1368424" y="2909508"/>
                </a:lnTo>
                <a:lnTo>
                  <a:pt x="1377949" y="2899983"/>
                </a:lnTo>
                <a:lnTo>
                  <a:pt x="1374774" y="2884108"/>
                </a:lnTo>
                <a:lnTo>
                  <a:pt x="1406524" y="2855533"/>
                </a:lnTo>
                <a:close/>
                <a:moveTo>
                  <a:pt x="1552574" y="2833308"/>
                </a:moveTo>
                <a:lnTo>
                  <a:pt x="1597024" y="2858708"/>
                </a:lnTo>
                <a:lnTo>
                  <a:pt x="1568449" y="2855533"/>
                </a:lnTo>
                <a:close/>
                <a:moveTo>
                  <a:pt x="1323974" y="2830133"/>
                </a:moveTo>
                <a:lnTo>
                  <a:pt x="1330324" y="2842833"/>
                </a:lnTo>
                <a:lnTo>
                  <a:pt x="1289049" y="2874583"/>
                </a:lnTo>
                <a:lnTo>
                  <a:pt x="1269999" y="2880933"/>
                </a:lnTo>
                <a:lnTo>
                  <a:pt x="1250949" y="2903158"/>
                </a:lnTo>
                <a:lnTo>
                  <a:pt x="1228724" y="2890458"/>
                </a:lnTo>
                <a:lnTo>
                  <a:pt x="1235074" y="2893633"/>
                </a:lnTo>
                <a:lnTo>
                  <a:pt x="1244599" y="2887283"/>
                </a:lnTo>
                <a:lnTo>
                  <a:pt x="1257299" y="2890458"/>
                </a:lnTo>
                <a:lnTo>
                  <a:pt x="1241424" y="2874583"/>
                </a:lnTo>
                <a:lnTo>
                  <a:pt x="1260474" y="2839658"/>
                </a:lnTo>
                <a:lnTo>
                  <a:pt x="1304924" y="2833308"/>
                </a:lnTo>
                <a:close/>
                <a:moveTo>
                  <a:pt x="1768474" y="2661858"/>
                </a:moveTo>
                <a:lnTo>
                  <a:pt x="1762124" y="2684083"/>
                </a:lnTo>
                <a:lnTo>
                  <a:pt x="1752599" y="2693608"/>
                </a:lnTo>
                <a:lnTo>
                  <a:pt x="1768474" y="2687258"/>
                </a:lnTo>
                <a:lnTo>
                  <a:pt x="1768474" y="2706308"/>
                </a:lnTo>
                <a:lnTo>
                  <a:pt x="1755774" y="2734883"/>
                </a:lnTo>
                <a:lnTo>
                  <a:pt x="1736724" y="2769808"/>
                </a:lnTo>
                <a:lnTo>
                  <a:pt x="1730374" y="2760283"/>
                </a:lnTo>
                <a:lnTo>
                  <a:pt x="1743074" y="2712658"/>
                </a:lnTo>
                <a:lnTo>
                  <a:pt x="1736724" y="2725358"/>
                </a:lnTo>
                <a:lnTo>
                  <a:pt x="1724024" y="2706308"/>
                </a:lnTo>
                <a:lnTo>
                  <a:pt x="1743074" y="2703133"/>
                </a:lnTo>
                <a:lnTo>
                  <a:pt x="1749424" y="2680908"/>
                </a:lnTo>
                <a:lnTo>
                  <a:pt x="1739899" y="2677733"/>
                </a:lnTo>
                <a:close/>
                <a:moveTo>
                  <a:pt x="1809749" y="2645983"/>
                </a:moveTo>
                <a:lnTo>
                  <a:pt x="1800224" y="2665033"/>
                </a:lnTo>
                <a:lnTo>
                  <a:pt x="1790699" y="2661858"/>
                </a:lnTo>
                <a:close/>
                <a:moveTo>
                  <a:pt x="2530475" y="2407858"/>
                </a:moveTo>
                <a:lnTo>
                  <a:pt x="2540000" y="2423733"/>
                </a:lnTo>
                <a:lnTo>
                  <a:pt x="2540000" y="2426908"/>
                </a:lnTo>
                <a:lnTo>
                  <a:pt x="2482850" y="2430083"/>
                </a:lnTo>
                <a:lnTo>
                  <a:pt x="2508250" y="2411033"/>
                </a:lnTo>
                <a:close/>
                <a:moveTo>
                  <a:pt x="1479549" y="2303083"/>
                </a:moveTo>
                <a:lnTo>
                  <a:pt x="1485899" y="2363408"/>
                </a:lnTo>
                <a:lnTo>
                  <a:pt x="1470024" y="2322133"/>
                </a:lnTo>
                <a:close/>
                <a:moveTo>
                  <a:pt x="2762250" y="2166558"/>
                </a:moveTo>
                <a:lnTo>
                  <a:pt x="2771775" y="2195133"/>
                </a:lnTo>
                <a:lnTo>
                  <a:pt x="2746375" y="2214183"/>
                </a:lnTo>
                <a:close/>
                <a:moveTo>
                  <a:pt x="2886075" y="1795082"/>
                </a:moveTo>
                <a:lnTo>
                  <a:pt x="2911475" y="1801432"/>
                </a:lnTo>
                <a:lnTo>
                  <a:pt x="2895600" y="1820482"/>
                </a:lnTo>
                <a:lnTo>
                  <a:pt x="2876550" y="1830007"/>
                </a:lnTo>
                <a:close/>
                <a:moveTo>
                  <a:pt x="2933700" y="1782382"/>
                </a:moveTo>
                <a:lnTo>
                  <a:pt x="2962275" y="1782382"/>
                </a:lnTo>
                <a:lnTo>
                  <a:pt x="2933700" y="1810957"/>
                </a:lnTo>
                <a:lnTo>
                  <a:pt x="2917825" y="1817307"/>
                </a:lnTo>
                <a:lnTo>
                  <a:pt x="2908300" y="1817307"/>
                </a:lnTo>
                <a:close/>
                <a:moveTo>
                  <a:pt x="3022600" y="1715707"/>
                </a:moveTo>
                <a:lnTo>
                  <a:pt x="3041650" y="1769682"/>
                </a:lnTo>
                <a:lnTo>
                  <a:pt x="3016250" y="1788732"/>
                </a:lnTo>
                <a:lnTo>
                  <a:pt x="3000375" y="1798257"/>
                </a:lnTo>
                <a:lnTo>
                  <a:pt x="2959100" y="1804607"/>
                </a:lnTo>
                <a:lnTo>
                  <a:pt x="2990850" y="1728407"/>
                </a:lnTo>
                <a:close/>
                <a:moveTo>
                  <a:pt x="2968625" y="1693482"/>
                </a:moveTo>
                <a:lnTo>
                  <a:pt x="2978150" y="1744282"/>
                </a:lnTo>
                <a:lnTo>
                  <a:pt x="2949575" y="1747457"/>
                </a:lnTo>
                <a:lnTo>
                  <a:pt x="2930525" y="1747457"/>
                </a:lnTo>
                <a:lnTo>
                  <a:pt x="2933700" y="1722057"/>
                </a:lnTo>
                <a:lnTo>
                  <a:pt x="2952750" y="1706182"/>
                </a:lnTo>
                <a:close/>
                <a:moveTo>
                  <a:pt x="3028950" y="1668082"/>
                </a:moveTo>
                <a:lnTo>
                  <a:pt x="3006725" y="1703007"/>
                </a:lnTo>
                <a:lnTo>
                  <a:pt x="2987675" y="1715707"/>
                </a:lnTo>
                <a:lnTo>
                  <a:pt x="3013075" y="1671257"/>
                </a:lnTo>
                <a:close/>
                <a:moveTo>
                  <a:pt x="3111499" y="1626807"/>
                </a:moveTo>
                <a:lnTo>
                  <a:pt x="3116262" y="1655382"/>
                </a:lnTo>
                <a:lnTo>
                  <a:pt x="3105149" y="1677607"/>
                </a:lnTo>
                <a:lnTo>
                  <a:pt x="3060700" y="1696657"/>
                </a:lnTo>
                <a:lnTo>
                  <a:pt x="3063875" y="1677607"/>
                </a:lnTo>
                <a:lnTo>
                  <a:pt x="3054350" y="1668082"/>
                </a:lnTo>
                <a:lnTo>
                  <a:pt x="3057525" y="1645857"/>
                </a:lnTo>
                <a:lnTo>
                  <a:pt x="3076575" y="1629982"/>
                </a:lnTo>
                <a:close/>
                <a:moveTo>
                  <a:pt x="3157537" y="1579182"/>
                </a:moveTo>
                <a:lnTo>
                  <a:pt x="3167062" y="1588707"/>
                </a:lnTo>
                <a:lnTo>
                  <a:pt x="3151187" y="1623632"/>
                </a:lnTo>
                <a:lnTo>
                  <a:pt x="3122612" y="1626807"/>
                </a:lnTo>
                <a:lnTo>
                  <a:pt x="3113087" y="1617282"/>
                </a:lnTo>
                <a:lnTo>
                  <a:pt x="3144837" y="1582357"/>
                </a:lnTo>
                <a:close/>
                <a:moveTo>
                  <a:pt x="3195637" y="1550607"/>
                </a:moveTo>
                <a:lnTo>
                  <a:pt x="3208337" y="1560132"/>
                </a:lnTo>
                <a:lnTo>
                  <a:pt x="3201987" y="1576007"/>
                </a:lnTo>
                <a:lnTo>
                  <a:pt x="3179762" y="1588707"/>
                </a:lnTo>
                <a:lnTo>
                  <a:pt x="3163887" y="1572832"/>
                </a:lnTo>
                <a:lnTo>
                  <a:pt x="3167062" y="1560132"/>
                </a:lnTo>
                <a:close/>
                <a:moveTo>
                  <a:pt x="3198812" y="1534732"/>
                </a:moveTo>
                <a:lnTo>
                  <a:pt x="3227387" y="1550607"/>
                </a:lnTo>
                <a:lnTo>
                  <a:pt x="3217862" y="1560132"/>
                </a:lnTo>
                <a:close/>
                <a:moveTo>
                  <a:pt x="3389312" y="1477582"/>
                </a:moveTo>
                <a:lnTo>
                  <a:pt x="3389312" y="1509332"/>
                </a:lnTo>
                <a:lnTo>
                  <a:pt x="3373437" y="1528382"/>
                </a:lnTo>
                <a:lnTo>
                  <a:pt x="3357562" y="1509332"/>
                </a:lnTo>
                <a:lnTo>
                  <a:pt x="3373437" y="1483932"/>
                </a:lnTo>
                <a:close/>
                <a:moveTo>
                  <a:pt x="3335337" y="1468057"/>
                </a:moveTo>
                <a:lnTo>
                  <a:pt x="3348037" y="1471232"/>
                </a:lnTo>
                <a:lnTo>
                  <a:pt x="3344862" y="1474407"/>
                </a:lnTo>
                <a:lnTo>
                  <a:pt x="3322637" y="1499807"/>
                </a:lnTo>
                <a:lnTo>
                  <a:pt x="3332162" y="1483932"/>
                </a:lnTo>
                <a:close/>
                <a:moveTo>
                  <a:pt x="3392487" y="1452182"/>
                </a:moveTo>
                <a:lnTo>
                  <a:pt x="3408362" y="1458532"/>
                </a:lnTo>
                <a:lnTo>
                  <a:pt x="3398837" y="1483932"/>
                </a:lnTo>
                <a:close/>
                <a:moveTo>
                  <a:pt x="3471862" y="1395032"/>
                </a:moveTo>
                <a:lnTo>
                  <a:pt x="3494087" y="1395032"/>
                </a:lnTo>
                <a:lnTo>
                  <a:pt x="3506787" y="1407732"/>
                </a:lnTo>
                <a:lnTo>
                  <a:pt x="3481387" y="1420432"/>
                </a:lnTo>
                <a:close/>
                <a:moveTo>
                  <a:pt x="4649788" y="1318835"/>
                </a:moveTo>
                <a:lnTo>
                  <a:pt x="4694238" y="1328360"/>
                </a:lnTo>
                <a:lnTo>
                  <a:pt x="4710113" y="1341060"/>
                </a:lnTo>
                <a:lnTo>
                  <a:pt x="4710113" y="1363285"/>
                </a:lnTo>
                <a:lnTo>
                  <a:pt x="4691063" y="1401385"/>
                </a:lnTo>
                <a:lnTo>
                  <a:pt x="4672013" y="1420435"/>
                </a:lnTo>
                <a:lnTo>
                  <a:pt x="4652963" y="1429960"/>
                </a:lnTo>
                <a:lnTo>
                  <a:pt x="4627563" y="1420435"/>
                </a:lnTo>
                <a:lnTo>
                  <a:pt x="4614863" y="1395035"/>
                </a:lnTo>
                <a:lnTo>
                  <a:pt x="4608513" y="1350585"/>
                </a:lnTo>
                <a:close/>
                <a:moveTo>
                  <a:pt x="933450" y="1309309"/>
                </a:moveTo>
                <a:lnTo>
                  <a:pt x="968375" y="1318834"/>
                </a:lnTo>
                <a:lnTo>
                  <a:pt x="971550" y="1341059"/>
                </a:lnTo>
                <a:lnTo>
                  <a:pt x="977900" y="1363284"/>
                </a:lnTo>
                <a:lnTo>
                  <a:pt x="984250" y="1379159"/>
                </a:lnTo>
                <a:lnTo>
                  <a:pt x="987425" y="1410909"/>
                </a:lnTo>
                <a:lnTo>
                  <a:pt x="974725" y="1436309"/>
                </a:lnTo>
                <a:lnTo>
                  <a:pt x="952500" y="1483934"/>
                </a:lnTo>
                <a:lnTo>
                  <a:pt x="987425" y="1471234"/>
                </a:lnTo>
                <a:lnTo>
                  <a:pt x="984250" y="1493459"/>
                </a:lnTo>
                <a:lnTo>
                  <a:pt x="1003300" y="1490284"/>
                </a:lnTo>
                <a:lnTo>
                  <a:pt x="1025525" y="1455359"/>
                </a:lnTo>
                <a:lnTo>
                  <a:pt x="1038225" y="1433134"/>
                </a:lnTo>
                <a:lnTo>
                  <a:pt x="1057275" y="1439484"/>
                </a:lnTo>
                <a:lnTo>
                  <a:pt x="1050925" y="1493459"/>
                </a:lnTo>
                <a:lnTo>
                  <a:pt x="1069975" y="1480759"/>
                </a:lnTo>
                <a:lnTo>
                  <a:pt x="1079500" y="1468059"/>
                </a:lnTo>
                <a:lnTo>
                  <a:pt x="1095375" y="1468059"/>
                </a:lnTo>
                <a:lnTo>
                  <a:pt x="1117600" y="1471234"/>
                </a:lnTo>
                <a:lnTo>
                  <a:pt x="1127125" y="1483934"/>
                </a:lnTo>
                <a:lnTo>
                  <a:pt x="1158875" y="1506159"/>
                </a:lnTo>
                <a:lnTo>
                  <a:pt x="1162050" y="1518859"/>
                </a:lnTo>
                <a:lnTo>
                  <a:pt x="1177925" y="1522034"/>
                </a:lnTo>
                <a:lnTo>
                  <a:pt x="1209675" y="1528384"/>
                </a:lnTo>
                <a:lnTo>
                  <a:pt x="1209675" y="1541084"/>
                </a:lnTo>
                <a:lnTo>
                  <a:pt x="1219200" y="1544259"/>
                </a:lnTo>
                <a:lnTo>
                  <a:pt x="1231900" y="1544259"/>
                </a:lnTo>
                <a:lnTo>
                  <a:pt x="1241425" y="1541084"/>
                </a:lnTo>
                <a:lnTo>
                  <a:pt x="1244600" y="1525209"/>
                </a:lnTo>
                <a:lnTo>
                  <a:pt x="1273175" y="1512509"/>
                </a:lnTo>
                <a:lnTo>
                  <a:pt x="1285875" y="1550609"/>
                </a:lnTo>
                <a:lnTo>
                  <a:pt x="1289050" y="1582359"/>
                </a:lnTo>
                <a:lnTo>
                  <a:pt x="1298575" y="1604584"/>
                </a:lnTo>
                <a:lnTo>
                  <a:pt x="1301750" y="1661734"/>
                </a:lnTo>
                <a:lnTo>
                  <a:pt x="1304925" y="1680784"/>
                </a:lnTo>
                <a:lnTo>
                  <a:pt x="1320800" y="1693484"/>
                </a:lnTo>
                <a:lnTo>
                  <a:pt x="1327150" y="1715709"/>
                </a:lnTo>
                <a:lnTo>
                  <a:pt x="1298575" y="1753809"/>
                </a:lnTo>
                <a:lnTo>
                  <a:pt x="1266825" y="1791909"/>
                </a:lnTo>
                <a:lnTo>
                  <a:pt x="1247775" y="1801434"/>
                </a:lnTo>
                <a:lnTo>
                  <a:pt x="1187450" y="1817309"/>
                </a:lnTo>
                <a:lnTo>
                  <a:pt x="1174750" y="1820484"/>
                </a:lnTo>
                <a:lnTo>
                  <a:pt x="1171575" y="1830009"/>
                </a:lnTo>
                <a:lnTo>
                  <a:pt x="1158875" y="1823659"/>
                </a:lnTo>
                <a:lnTo>
                  <a:pt x="1072092" y="1820560"/>
                </a:lnTo>
                <a:lnTo>
                  <a:pt x="1073150" y="1820484"/>
                </a:lnTo>
                <a:lnTo>
                  <a:pt x="1069975" y="1820484"/>
                </a:lnTo>
                <a:lnTo>
                  <a:pt x="1072092" y="1820560"/>
                </a:lnTo>
                <a:lnTo>
                  <a:pt x="1028700" y="1823659"/>
                </a:lnTo>
                <a:lnTo>
                  <a:pt x="927100" y="1820484"/>
                </a:lnTo>
                <a:lnTo>
                  <a:pt x="866775" y="1776034"/>
                </a:lnTo>
                <a:lnTo>
                  <a:pt x="825500" y="1696659"/>
                </a:lnTo>
                <a:lnTo>
                  <a:pt x="800100" y="1661734"/>
                </a:lnTo>
                <a:lnTo>
                  <a:pt x="768350" y="1639509"/>
                </a:lnTo>
                <a:lnTo>
                  <a:pt x="742950" y="1623634"/>
                </a:lnTo>
                <a:lnTo>
                  <a:pt x="742950" y="1595059"/>
                </a:lnTo>
                <a:lnTo>
                  <a:pt x="762000" y="1607759"/>
                </a:lnTo>
                <a:lnTo>
                  <a:pt x="790575" y="1614109"/>
                </a:lnTo>
                <a:lnTo>
                  <a:pt x="812800" y="1572834"/>
                </a:lnTo>
                <a:lnTo>
                  <a:pt x="831850" y="1531559"/>
                </a:lnTo>
                <a:lnTo>
                  <a:pt x="835025" y="1528384"/>
                </a:lnTo>
                <a:lnTo>
                  <a:pt x="819150" y="1499809"/>
                </a:lnTo>
                <a:lnTo>
                  <a:pt x="790575" y="1477584"/>
                </a:lnTo>
                <a:lnTo>
                  <a:pt x="762000" y="1471234"/>
                </a:lnTo>
                <a:lnTo>
                  <a:pt x="762000" y="1442659"/>
                </a:lnTo>
                <a:lnTo>
                  <a:pt x="774700" y="1445834"/>
                </a:lnTo>
                <a:lnTo>
                  <a:pt x="800100" y="1455359"/>
                </a:lnTo>
                <a:lnTo>
                  <a:pt x="835025" y="1461709"/>
                </a:lnTo>
                <a:lnTo>
                  <a:pt x="917575" y="1461709"/>
                </a:lnTo>
                <a:lnTo>
                  <a:pt x="882650" y="1423609"/>
                </a:lnTo>
                <a:lnTo>
                  <a:pt x="847725" y="1395034"/>
                </a:lnTo>
                <a:lnTo>
                  <a:pt x="847725" y="1398209"/>
                </a:lnTo>
                <a:lnTo>
                  <a:pt x="812800" y="1388684"/>
                </a:lnTo>
                <a:lnTo>
                  <a:pt x="793750" y="1356934"/>
                </a:lnTo>
                <a:lnTo>
                  <a:pt x="876300" y="1322009"/>
                </a:lnTo>
                <a:close/>
                <a:moveTo>
                  <a:pt x="4991935" y="960725"/>
                </a:moveTo>
                <a:lnTo>
                  <a:pt x="5076925" y="985168"/>
                </a:lnTo>
                <a:lnTo>
                  <a:pt x="5101672" y="999502"/>
                </a:lnTo>
                <a:lnTo>
                  <a:pt x="5090921" y="1018061"/>
                </a:lnTo>
                <a:lnTo>
                  <a:pt x="5073984" y="1033038"/>
                </a:lnTo>
                <a:lnTo>
                  <a:pt x="5064213" y="1035642"/>
                </a:lnTo>
                <a:lnTo>
                  <a:pt x="5061611" y="1025871"/>
                </a:lnTo>
                <a:lnTo>
                  <a:pt x="5055424" y="1022288"/>
                </a:lnTo>
                <a:lnTo>
                  <a:pt x="5026114" y="1030098"/>
                </a:lnTo>
                <a:lnTo>
                  <a:pt x="5003970" y="1025533"/>
                </a:lnTo>
                <a:lnTo>
                  <a:pt x="4982807" y="1005013"/>
                </a:lnTo>
                <a:lnTo>
                  <a:pt x="4987371" y="982869"/>
                </a:lnTo>
                <a:close/>
                <a:moveTo>
                  <a:pt x="5402896" y="916923"/>
                </a:moveTo>
                <a:lnTo>
                  <a:pt x="5415417" y="929443"/>
                </a:lnTo>
                <a:cubicBezTo>
                  <a:pt x="5418167" y="937691"/>
                  <a:pt x="5420237" y="944044"/>
                  <a:pt x="5421759" y="948852"/>
                </a:cubicBezTo>
                <a:lnTo>
                  <a:pt x="5423120" y="950450"/>
                </a:lnTo>
                <a:cubicBezTo>
                  <a:pt x="5422088" y="945493"/>
                  <a:pt x="5421942" y="940751"/>
                  <a:pt x="5424360" y="940763"/>
                </a:cubicBezTo>
                <a:lnTo>
                  <a:pt x="5430527" y="945332"/>
                </a:lnTo>
                <a:lnTo>
                  <a:pt x="5448074" y="970265"/>
                </a:lnTo>
                <a:cubicBezTo>
                  <a:pt x="5473013" y="1010168"/>
                  <a:pt x="5456927" y="1015414"/>
                  <a:pt x="5472567" y="1051908"/>
                </a:cubicBezTo>
                <a:cubicBezTo>
                  <a:pt x="5476432" y="1060927"/>
                  <a:pt x="5484910" y="1067435"/>
                  <a:pt x="5488895" y="1076401"/>
                </a:cubicBezTo>
                <a:cubicBezTo>
                  <a:pt x="5527758" y="1163842"/>
                  <a:pt x="5484600" y="1094448"/>
                  <a:pt x="5521552" y="1149879"/>
                </a:cubicBezTo>
                <a:cubicBezTo>
                  <a:pt x="5528356" y="1224721"/>
                  <a:pt x="5536521" y="1254651"/>
                  <a:pt x="5521552" y="1329493"/>
                </a:cubicBezTo>
                <a:cubicBezTo>
                  <a:pt x="5516489" y="1354809"/>
                  <a:pt x="5503321" y="1377925"/>
                  <a:pt x="5497059" y="1402972"/>
                </a:cubicBezTo>
                <a:cubicBezTo>
                  <a:pt x="5486515" y="1445148"/>
                  <a:pt x="5495119" y="1426293"/>
                  <a:pt x="5472567" y="1460122"/>
                </a:cubicBezTo>
                <a:cubicBezTo>
                  <a:pt x="5469845" y="1471008"/>
                  <a:pt x="5468822" y="1482466"/>
                  <a:pt x="5464402" y="1492779"/>
                </a:cubicBezTo>
                <a:cubicBezTo>
                  <a:pt x="5460537" y="1501798"/>
                  <a:pt x="5451427" y="1508051"/>
                  <a:pt x="5448074" y="1517272"/>
                </a:cubicBezTo>
                <a:cubicBezTo>
                  <a:pt x="5440411" y="1538349"/>
                  <a:pt x="5431756" y="1582532"/>
                  <a:pt x="5431745" y="1582586"/>
                </a:cubicBezTo>
                <a:cubicBezTo>
                  <a:pt x="5432841" y="1597926"/>
                  <a:pt x="5431567" y="1712978"/>
                  <a:pt x="5456238" y="1745872"/>
                </a:cubicBezTo>
                <a:lnTo>
                  <a:pt x="5480731" y="1778529"/>
                </a:lnTo>
                <a:cubicBezTo>
                  <a:pt x="5483452" y="1786693"/>
                  <a:pt x="5484716" y="1795499"/>
                  <a:pt x="5488895" y="1803022"/>
                </a:cubicBezTo>
                <a:cubicBezTo>
                  <a:pt x="5498425" y="1820177"/>
                  <a:pt x="5515346" y="1833391"/>
                  <a:pt x="5521552" y="1852008"/>
                </a:cubicBezTo>
                <a:cubicBezTo>
                  <a:pt x="5524274" y="1860172"/>
                  <a:pt x="5525537" y="1868978"/>
                  <a:pt x="5529717" y="1876501"/>
                </a:cubicBezTo>
                <a:cubicBezTo>
                  <a:pt x="5539242" y="1893645"/>
                  <a:pt x="5562346" y="1925446"/>
                  <a:pt x="5562374" y="1925486"/>
                </a:cubicBezTo>
                <a:cubicBezTo>
                  <a:pt x="5580783" y="1980716"/>
                  <a:pt x="5556472" y="1913682"/>
                  <a:pt x="5595031" y="1990801"/>
                </a:cubicBezTo>
                <a:cubicBezTo>
                  <a:pt x="5614290" y="2029320"/>
                  <a:pt x="5604360" y="2017056"/>
                  <a:pt x="5600930" y="2012348"/>
                </a:cubicBezTo>
                <a:lnTo>
                  <a:pt x="5605055" y="2018003"/>
                </a:lnTo>
                <a:lnTo>
                  <a:pt x="5601287" y="2012866"/>
                </a:lnTo>
                <a:cubicBezTo>
                  <a:pt x="5603563" y="2016086"/>
                  <a:pt x="5608884" y="2023826"/>
                  <a:pt x="5619524" y="2039786"/>
                </a:cubicBezTo>
                <a:cubicBezTo>
                  <a:pt x="5622245" y="2047950"/>
                  <a:pt x="5623509" y="2056756"/>
                  <a:pt x="5627688" y="2064279"/>
                </a:cubicBezTo>
                <a:cubicBezTo>
                  <a:pt x="5637218" y="2081434"/>
                  <a:pt x="5654139" y="2094647"/>
                  <a:pt x="5660345" y="2113265"/>
                </a:cubicBezTo>
                <a:cubicBezTo>
                  <a:pt x="5663066" y="2121429"/>
                  <a:pt x="5663133" y="2131038"/>
                  <a:pt x="5668509" y="2137758"/>
                </a:cubicBezTo>
                <a:cubicBezTo>
                  <a:pt x="5674639" y="2145420"/>
                  <a:pt x="5684838" y="2148643"/>
                  <a:pt x="5693002" y="2154086"/>
                </a:cubicBezTo>
                <a:cubicBezTo>
                  <a:pt x="5695724" y="2162250"/>
                  <a:pt x="5697318" y="2170882"/>
                  <a:pt x="5701167" y="2178579"/>
                </a:cubicBezTo>
                <a:cubicBezTo>
                  <a:pt x="5712535" y="2201314"/>
                  <a:pt x="5723930" y="2209507"/>
                  <a:pt x="5741988" y="2227565"/>
                </a:cubicBezTo>
                <a:cubicBezTo>
                  <a:pt x="5747431" y="2243894"/>
                  <a:pt x="5750620" y="2261156"/>
                  <a:pt x="5758317" y="2276551"/>
                </a:cubicBezTo>
                <a:cubicBezTo>
                  <a:pt x="5763760" y="2287437"/>
                  <a:pt x="5770125" y="2297908"/>
                  <a:pt x="5774645" y="2309208"/>
                </a:cubicBezTo>
                <a:cubicBezTo>
                  <a:pt x="5781037" y="2325189"/>
                  <a:pt x="5783277" y="2342798"/>
                  <a:pt x="5790974" y="2358193"/>
                </a:cubicBezTo>
                <a:cubicBezTo>
                  <a:pt x="5811690" y="2399627"/>
                  <a:pt x="5800551" y="2380724"/>
                  <a:pt x="5823631" y="2415343"/>
                </a:cubicBezTo>
                <a:cubicBezTo>
                  <a:pt x="5830271" y="2435265"/>
                  <a:pt x="5832296" y="2448501"/>
                  <a:pt x="5848124" y="2464329"/>
                </a:cubicBezTo>
                <a:cubicBezTo>
                  <a:pt x="5877531" y="2493736"/>
                  <a:pt x="5877464" y="2481976"/>
                  <a:pt x="5905274" y="2505151"/>
                </a:cubicBezTo>
                <a:cubicBezTo>
                  <a:pt x="5914144" y="2512542"/>
                  <a:pt x="5920897" y="2522251"/>
                  <a:pt x="5929767" y="2529643"/>
                </a:cubicBezTo>
                <a:cubicBezTo>
                  <a:pt x="5937305" y="2535925"/>
                  <a:pt x="5947321" y="2539034"/>
                  <a:pt x="5954259" y="2545972"/>
                </a:cubicBezTo>
                <a:cubicBezTo>
                  <a:pt x="5963881" y="2555594"/>
                  <a:pt x="5969897" y="2568298"/>
                  <a:pt x="5978752" y="2578629"/>
                </a:cubicBezTo>
                <a:cubicBezTo>
                  <a:pt x="5986266" y="2587395"/>
                  <a:pt x="5995853" y="2594252"/>
                  <a:pt x="6003245" y="2603122"/>
                </a:cubicBezTo>
                <a:cubicBezTo>
                  <a:pt x="6009527" y="2610660"/>
                  <a:pt x="6012636" y="2620677"/>
                  <a:pt x="6019574" y="2627615"/>
                </a:cubicBezTo>
                <a:cubicBezTo>
                  <a:pt x="6026512" y="2634553"/>
                  <a:pt x="6035903" y="2638500"/>
                  <a:pt x="6044067" y="2643943"/>
                </a:cubicBezTo>
                <a:cubicBezTo>
                  <a:pt x="6049510" y="2652107"/>
                  <a:pt x="6054113" y="2660898"/>
                  <a:pt x="6060395" y="2668436"/>
                </a:cubicBezTo>
                <a:cubicBezTo>
                  <a:pt x="6067787" y="2677306"/>
                  <a:pt x="6079160" y="2682904"/>
                  <a:pt x="6084888" y="2692929"/>
                </a:cubicBezTo>
                <a:cubicBezTo>
                  <a:pt x="6090455" y="2702671"/>
                  <a:pt x="6089969" y="2714797"/>
                  <a:pt x="6093052" y="2725586"/>
                </a:cubicBezTo>
                <a:cubicBezTo>
                  <a:pt x="6095416" y="2733861"/>
                  <a:pt x="6099130" y="2741730"/>
                  <a:pt x="6101217" y="2750079"/>
                </a:cubicBezTo>
                <a:cubicBezTo>
                  <a:pt x="6104583" y="2763541"/>
                  <a:pt x="6106015" y="2777439"/>
                  <a:pt x="6109381" y="2790901"/>
                </a:cubicBezTo>
                <a:cubicBezTo>
                  <a:pt x="6111468" y="2799250"/>
                  <a:pt x="6115458" y="2807044"/>
                  <a:pt x="6117545" y="2815393"/>
                </a:cubicBezTo>
                <a:cubicBezTo>
                  <a:pt x="6120911" y="2828855"/>
                  <a:pt x="6122988" y="2842608"/>
                  <a:pt x="6125709" y="2856215"/>
                </a:cubicBezTo>
                <a:cubicBezTo>
                  <a:pt x="6117766" y="2927708"/>
                  <a:pt x="6110393" y="2951085"/>
                  <a:pt x="6125709" y="3027665"/>
                </a:cubicBezTo>
                <a:cubicBezTo>
                  <a:pt x="6127633" y="3037287"/>
                  <a:pt x="6136595" y="3043994"/>
                  <a:pt x="6142038" y="3052158"/>
                </a:cubicBezTo>
                <a:cubicBezTo>
                  <a:pt x="6144759" y="3060322"/>
                  <a:pt x="6146023" y="3069128"/>
                  <a:pt x="6150202" y="3076651"/>
                </a:cubicBezTo>
                <a:cubicBezTo>
                  <a:pt x="6159732" y="3093806"/>
                  <a:pt x="6176653" y="3107019"/>
                  <a:pt x="6182859" y="3125636"/>
                </a:cubicBezTo>
                <a:cubicBezTo>
                  <a:pt x="6188302" y="3141965"/>
                  <a:pt x="6195813" y="3157744"/>
                  <a:pt x="6199188" y="3174622"/>
                </a:cubicBezTo>
                <a:cubicBezTo>
                  <a:pt x="6201909" y="3188229"/>
                  <a:pt x="6203701" y="3202056"/>
                  <a:pt x="6207352" y="3215443"/>
                </a:cubicBezTo>
                <a:cubicBezTo>
                  <a:pt x="6211881" y="3232048"/>
                  <a:pt x="6219507" y="3247731"/>
                  <a:pt x="6223681" y="3264429"/>
                </a:cubicBezTo>
                <a:lnTo>
                  <a:pt x="6240009" y="3329743"/>
                </a:lnTo>
                <a:cubicBezTo>
                  <a:pt x="6237288" y="3365122"/>
                  <a:pt x="6241593" y="3401761"/>
                  <a:pt x="6231845" y="3435879"/>
                </a:cubicBezTo>
                <a:cubicBezTo>
                  <a:pt x="6229481" y="3444154"/>
                  <a:pt x="6215701" y="3441956"/>
                  <a:pt x="6207352" y="3444043"/>
                </a:cubicBezTo>
                <a:cubicBezTo>
                  <a:pt x="6115048" y="3467120"/>
                  <a:pt x="6222619" y="3433511"/>
                  <a:pt x="6117545" y="3468536"/>
                </a:cubicBezTo>
                <a:cubicBezTo>
                  <a:pt x="6109381" y="3471257"/>
                  <a:pt x="6100213" y="3471927"/>
                  <a:pt x="6093052" y="3476701"/>
                </a:cubicBezTo>
                <a:lnTo>
                  <a:pt x="6058646" y="3499639"/>
                </a:lnTo>
                <a:lnTo>
                  <a:pt x="6058645" y="3499638"/>
                </a:lnTo>
                <a:lnTo>
                  <a:pt x="6044066" y="3509357"/>
                </a:lnTo>
                <a:cubicBezTo>
                  <a:pt x="6036122" y="3521272"/>
                  <a:pt x="6011529" y="3559143"/>
                  <a:pt x="6003244" y="3566507"/>
                </a:cubicBezTo>
                <a:cubicBezTo>
                  <a:pt x="5969556" y="3596451"/>
                  <a:pt x="5963027" y="3596241"/>
                  <a:pt x="5929766" y="3607328"/>
                </a:cubicBezTo>
                <a:cubicBezTo>
                  <a:pt x="5924323" y="3615492"/>
                  <a:pt x="5921601" y="3626378"/>
                  <a:pt x="5913437" y="3631821"/>
                </a:cubicBezTo>
                <a:cubicBezTo>
                  <a:pt x="5904101" y="3638045"/>
                  <a:pt x="5883501" y="3629099"/>
                  <a:pt x="5880780" y="3639985"/>
                </a:cubicBezTo>
                <a:cubicBezTo>
                  <a:pt x="5876291" y="3657942"/>
                  <a:pt x="5887576" y="3752232"/>
                  <a:pt x="5905273" y="3778778"/>
                </a:cubicBezTo>
                <a:cubicBezTo>
                  <a:pt x="5916159" y="3795107"/>
                  <a:pt x="5921601" y="3816878"/>
                  <a:pt x="5937930" y="3827764"/>
                </a:cubicBezTo>
                <a:lnTo>
                  <a:pt x="5986916" y="3860421"/>
                </a:lnTo>
                <a:cubicBezTo>
                  <a:pt x="6027451" y="3921226"/>
                  <a:pt x="5975358" y="3846552"/>
                  <a:pt x="6027737" y="3909407"/>
                </a:cubicBezTo>
                <a:lnTo>
                  <a:pt x="6042153" y="3928797"/>
                </a:lnTo>
                <a:cubicBezTo>
                  <a:pt x="6044306" y="3935495"/>
                  <a:pt x="6043301" y="3933390"/>
                  <a:pt x="6068558" y="3950228"/>
                </a:cubicBezTo>
                <a:cubicBezTo>
                  <a:pt x="6088128" y="4008934"/>
                  <a:pt x="6064392" y="3935643"/>
                  <a:pt x="6084887" y="4007378"/>
                </a:cubicBezTo>
                <a:cubicBezTo>
                  <a:pt x="6087251" y="4015653"/>
                  <a:pt x="6088872" y="4024348"/>
                  <a:pt x="6093051" y="4031871"/>
                </a:cubicBezTo>
                <a:cubicBezTo>
                  <a:pt x="6102581" y="4049026"/>
                  <a:pt x="6114822" y="4064528"/>
                  <a:pt x="6125708" y="4080857"/>
                </a:cubicBezTo>
                <a:lnTo>
                  <a:pt x="6158366" y="4129842"/>
                </a:lnTo>
                <a:lnTo>
                  <a:pt x="6170520" y="4148073"/>
                </a:lnTo>
                <a:lnTo>
                  <a:pt x="6148387" y="4154109"/>
                </a:lnTo>
                <a:lnTo>
                  <a:pt x="6126162" y="4169984"/>
                </a:lnTo>
                <a:lnTo>
                  <a:pt x="6110287" y="4204909"/>
                </a:lnTo>
                <a:lnTo>
                  <a:pt x="6091237" y="4214434"/>
                </a:lnTo>
                <a:lnTo>
                  <a:pt x="6084887" y="4217609"/>
                </a:lnTo>
                <a:lnTo>
                  <a:pt x="6081712" y="4230309"/>
                </a:lnTo>
                <a:lnTo>
                  <a:pt x="6018212" y="4292222"/>
                </a:lnTo>
                <a:lnTo>
                  <a:pt x="6010963" y="4295847"/>
                </a:lnTo>
                <a:lnTo>
                  <a:pt x="6009241" y="4303792"/>
                </a:lnTo>
                <a:lnTo>
                  <a:pt x="6021387" y="4320797"/>
                </a:lnTo>
                <a:lnTo>
                  <a:pt x="6002633" y="4327049"/>
                </a:lnTo>
                <a:lnTo>
                  <a:pt x="6002410" y="4327511"/>
                </a:lnTo>
                <a:lnTo>
                  <a:pt x="6004349" y="4337204"/>
                </a:lnTo>
                <a:lnTo>
                  <a:pt x="6002337" y="4336671"/>
                </a:lnTo>
                <a:lnTo>
                  <a:pt x="5998506" y="4335598"/>
                </a:lnTo>
                <a:lnTo>
                  <a:pt x="5998505" y="4335599"/>
                </a:lnTo>
                <a:lnTo>
                  <a:pt x="6002338" y="4336672"/>
                </a:lnTo>
                <a:lnTo>
                  <a:pt x="6004350" y="4337205"/>
                </a:lnTo>
                <a:lnTo>
                  <a:pt x="6005513" y="4343023"/>
                </a:lnTo>
                <a:lnTo>
                  <a:pt x="5999163" y="4358897"/>
                </a:lnTo>
                <a:lnTo>
                  <a:pt x="5983288" y="4384297"/>
                </a:lnTo>
                <a:lnTo>
                  <a:pt x="5970588" y="4390647"/>
                </a:lnTo>
                <a:lnTo>
                  <a:pt x="5992813" y="4422397"/>
                </a:lnTo>
                <a:lnTo>
                  <a:pt x="5954713" y="4441447"/>
                </a:lnTo>
                <a:lnTo>
                  <a:pt x="5938838" y="4457323"/>
                </a:lnTo>
                <a:lnTo>
                  <a:pt x="5910263" y="4473197"/>
                </a:lnTo>
                <a:lnTo>
                  <a:pt x="5894388" y="4485897"/>
                </a:lnTo>
                <a:lnTo>
                  <a:pt x="5897563" y="4498597"/>
                </a:lnTo>
                <a:lnTo>
                  <a:pt x="5900738" y="4523997"/>
                </a:lnTo>
                <a:lnTo>
                  <a:pt x="5884863" y="4616072"/>
                </a:lnTo>
                <a:lnTo>
                  <a:pt x="5875338" y="4682747"/>
                </a:lnTo>
                <a:lnTo>
                  <a:pt x="5891213" y="4682747"/>
                </a:lnTo>
                <a:lnTo>
                  <a:pt x="5929313" y="4692272"/>
                </a:lnTo>
                <a:lnTo>
                  <a:pt x="5992813" y="4752597"/>
                </a:lnTo>
                <a:lnTo>
                  <a:pt x="5999163" y="4784347"/>
                </a:lnTo>
                <a:lnTo>
                  <a:pt x="6011863" y="4816097"/>
                </a:lnTo>
                <a:lnTo>
                  <a:pt x="6021388" y="4847847"/>
                </a:lnTo>
                <a:lnTo>
                  <a:pt x="6059488" y="4873247"/>
                </a:lnTo>
                <a:lnTo>
                  <a:pt x="6116638" y="4911347"/>
                </a:lnTo>
                <a:lnTo>
                  <a:pt x="6148388" y="4936747"/>
                </a:lnTo>
                <a:lnTo>
                  <a:pt x="6167438" y="4955797"/>
                </a:lnTo>
                <a:lnTo>
                  <a:pt x="6175514" y="4956605"/>
                </a:lnTo>
                <a:lnTo>
                  <a:pt x="6175514" y="4956604"/>
                </a:lnTo>
                <a:lnTo>
                  <a:pt x="6199187" y="4958971"/>
                </a:lnTo>
                <a:lnTo>
                  <a:pt x="6230937" y="4981196"/>
                </a:lnTo>
                <a:lnTo>
                  <a:pt x="6278562" y="5022471"/>
                </a:lnTo>
                <a:lnTo>
                  <a:pt x="6332537" y="5063746"/>
                </a:lnTo>
                <a:lnTo>
                  <a:pt x="6376987" y="5073271"/>
                </a:lnTo>
                <a:lnTo>
                  <a:pt x="6427787" y="5070096"/>
                </a:lnTo>
                <a:lnTo>
                  <a:pt x="6443662" y="5082796"/>
                </a:lnTo>
                <a:lnTo>
                  <a:pt x="6418262" y="5089146"/>
                </a:lnTo>
                <a:lnTo>
                  <a:pt x="6364287" y="5139946"/>
                </a:lnTo>
                <a:lnTo>
                  <a:pt x="6376987" y="5209796"/>
                </a:lnTo>
                <a:lnTo>
                  <a:pt x="6376987" y="5238371"/>
                </a:lnTo>
                <a:lnTo>
                  <a:pt x="6396037" y="5247896"/>
                </a:lnTo>
                <a:lnTo>
                  <a:pt x="6383337" y="5260596"/>
                </a:lnTo>
                <a:lnTo>
                  <a:pt x="6386512" y="5282821"/>
                </a:lnTo>
                <a:lnTo>
                  <a:pt x="6389687" y="5314571"/>
                </a:lnTo>
                <a:lnTo>
                  <a:pt x="6380162" y="5311396"/>
                </a:lnTo>
                <a:lnTo>
                  <a:pt x="6361112" y="5295521"/>
                </a:lnTo>
                <a:lnTo>
                  <a:pt x="6367462" y="5314571"/>
                </a:lnTo>
                <a:lnTo>
                  <a:pt x="6367462" y="5343146"/>
                </a:lnTo>
                <a:lnTo>
                  <a:pt x="6380162" y="5378071"/>
                </a:lnTo>
                <a:lnTo>
                  <a:pt x="6387489" y="5397121"/>
                </a:lnTo>
                <a:lnTo>
                  <a:pt x="6386512" y="5397121"/>
                </a:lnTo>
                <a:lnTo>
                  <a:pt x="6357937" y="5412996"/>
                </a:lnTo>
                <a:lnTo>
                  <a:pt x="6313487" y="5397121"/>
                </a:lnTo>
                <a:lnTo>
                  <a:pt x="6275387" y="5374896"/>
                </a:lnTo>
                <a:lnTo>
                  <a:pt x="6297612" y="5352671"/>
                </a:lnTo>
                <a:lnTo>
                  <a:pt x="6284912" y="5295521"/>
                </a:lnTo>
                <a:lnTo>
                  <a:pt x="6230937" y="5263771"/>
                </a:lnTo>
                <a:lnTo>
                  <a:pt x="6180137" y="5324096"/>
                </a:lnTo>
                <a:lnTo>
                  <a:pt x="6122987" y="5438396"/>
                </a:lnTo>
                <a:lnTo>
                  <a:pt x="6078537" y="5454271"/>
                </a:lnTo>
                <a:lnTo>
                  <a:pt x="5995987" y="5460621"/>
                </a:lnTo>
                <a:lnTo>
                  <a:pt x="5907087" y="5400296"/>
                </a:lnTo>
                <a:lnTo>
                  <a:pt x="5884862" y="5400296"/>
                </a:lnTo>
                <a:lnTo>
                  <a:pt x="5868987" y="5403471"/>
                </a:lnTo>
                <a:lnTo>
                  <a:pt x="5837237" y="5457446"/>
                </a:lnTo>
                <a:lnTo>
                  <a:pt x="5868987" y="5511421"/>
                </a:lnTo>
                <a:lnTo>
                  <a:pt x="5881687" y="5524121"/>
                </a:lnTo>
                <a:lnTo>
                  <a:pt x="5897562" y="5552696"/>
                </a:lnTo>
                <a:lnTo>
                  <a:pt x="5919787" y="5613021"/>
                </a:lnTo>
                <a:lnTo>
                  <a:pt x="5926137" y="5660646"/>
                </a:lnTo>
                <a:lnTo>
                  <a:pt x="5980112" y="5689221"/>
                </a:lnTo>
                <a:lnTo>
                  <a:pt x="6011862" y="5736846"/>
                </a:lnTo>
                <a:lnTo>
                  <a:pt x="5983287" y="5736846"/>
                </a:lnTo>
                <a:lnTo>
                  <a:pt x="5932487" y="5740021"/>
                </a:lnTo>
                <a:lnTo>
                  <a:pt x="5913437" y="5755896"/>
                </a:lnTo>
                <a:lnTo>
                  <a:pt x="5881687" y="5768596"/>
                </a:lnTo>
                <a:lnTo>
                  <a:pt x="5840412" y="5765421"/>
                </a:lnTo>
                <a:lnTo>
                  <a:pt x="5802312" y="5774946"/>
                </a:lnTo>
                <a:lnTo>
                  <a:pt x="5773737" y="5800346"/>
                </a:lnTo>
                <a:lnTo>
                  <a:pt x="5745162" y="5828921"/>
                </a:lnTo>
                <a:lnTo>
                  <a:pt x="5722937" y="5806696"/>
                </a:lnTo>
                <a:lnTo>
                  <a:pt x="5659437" y="5860671"/>
                </a:lnTo>
                <a:lnTo>
                  <a:pt x="5580062" y="5876546"/>
                </a:lnTo>
                <a:lnTo>
                  <a:pt x="5513387" y="5933696"/>
                </a:lnTo>
                <a:lnTo>
                  <a:pt x="5437187" y="5978146"/>
                </a:lnTo>
                <a:lnTo>
                  <a:pt x="5408612" y="5990846"/>
                </a:lnTo>
                <a:lnTo>
                  <a:pt x="5357812" y="5997196"/>
                </a:lnTo>
                <a:lnTo>
                  <a:pt x="5332412" y="5984496"/>
                </a:lnTo>
                <a:lnTo>
                  <a:pt x="5297487" y="5984496"/>
                </a:lnTo>
                <a:lnTo>
                  <a:pt x="5221287" y="6025771"/>
                </a:lnTo>
                <a:lnTo>
                  <a:pt x="5122862" y="6035296"/>
                </a:lnTo>
                <a:lnTo>
                  <a:pt x="5132387" y="6101971"/>
                </a:lnTo>
                <a:lnTo>
                  <a:pt x="5141912" y="6117846"/>
                </a:lnTo>
                <a:lnTo>
                  <a:pt x="5110162" y="6127371"/>
                </a:lnTo>
                <a:lnTo>
                  <a:pt x="5113337" y="6155946"/>
                </a:lnTo>
                <a:lnTo>
                  <a:pt x="5065712" y="6178171"/>
                </a:lnTo>
                <a:lnTo>
                  <a:pt x="5065712" y="6162296"/>
                </a:lnTo>
                <a:lnTo>
                  <a:pt x="5040312" y="6133721"/>
                </a:lnTo>
                <a:lnTo>
                  <a:pt x="5049837" y="6108321"/>
                </a:lnTo>
                <a:lnTo>
                  <a:pt x="5078412" y="6070221"/>
                </a:lnTo>
                <a:lnTo>
                  <a:pt x="5046662" y="6038471"/>
                </a:lnTo>
                <a:lnTo>
                  <a:pt x="5008562" y="6095621"/>
                </a:lnTo>
                <a:lnTo>
                  <a:pt x="4992687" y="6098796"/>
                </a:lnTo>
                <a:lnTo>
                  <a:pt x="4929187" y="6092446"/>
                </a:lnTo>
                <a:lnTo>
                  <a:pt x="4919662" y="6086096"/>
                </a:lnTo>
                <a:lnTo>
                  <a:pt x="4875212" y="6108321"/>
                </a:lnTo>
                <a:lnTo>
                  <a:pt x="4840287" y="6168646"/>
                </a:lnTo>
                <a:lnTo>
                  <a:pt x="4703762" y="6235321"/>
                </a:lnTo>
                <a:lnTo>
                  <a:pt x="4624387" y="6194046"/>
                </a:lnTo>
                <a:lnTo>
                  <a:pt x="4560887" y="6168646"/>
                </a:lnTo>
                <a:lnTo>
                  <a:pt x="4503737" y="6152771"/>
                </a:lnTo>
                <a:lnTo>
                  <a:pt x="4475162" y="6152771"/>
                </a:lnTo>
                <a:lnTo>
                  <a:pt x="4433887" y="6178171"/>
                </a:lnTo>
                <a:lnTo>
                  <a:pt x="4424362" y="6228971"/>
                </a:lnTo>
                <a:lnTo>
                  <a:pt x="4395787" y="6244846"/>
                </a:lnTo>
                <a:lnTo>
                  <a:pt x="4360862" y="6263896"/>
                </a:lnTo>
                <a:lnTo>
                  <a:pt x="4348162" y="6270246"/>
                </a:lnTo>
                <a:lnTo>
                  <a:pt x="4329112" y="6267071"/>
                </a:lnTo>
                <a:lnTo>
                  <a:pt x="4291012" y="6257546"/>
                </a:lnTo>
                <a:lnTo>
                  <a:pt x="4246562" y="6200396"/>
                </a:lnTo>
                <a:lnTo>
                  <a:pt x="4164012" y="6165471"/>
                </a:lnTo>
                <a:lnTo>
                  <a:pt x="4062412" y="6184521"/>
                </a:lnTo>
                <a:lnTo>
                  <a:pt x="4037012" y="6108321"/>
                </a:lnTo>
                <a:lnTo>
                  <a:pt x="4043362" y="6047996"/>
                </a:lnTo>
                <a:lnTo>
                  <a:pt x="3970337" y="6032121"/>
                </a:lnTo>
                <a:lnTo>
                  <a:pt x="3957637" y="6035296"/>
                </a:lnTo>
                <a:lnTo>
                  <a:pt x="3929062" y="6016246"/>
                </a:lnTo>
                <a:lnTo>
                  <a:pt x="3938587" y="5955921"/>
                </a:lnTo>
                <a:lnTo>
                  <a:pt x="3986212" y="5962271"/>
                </a:lnTo>
                <a:lnTo>
                  <a:pt x="3995737" y="5914646"/>
                </a:lnTo>
                <a:lnTo>
                  <a:pt x="3963987" y="5876546"/>
                </a:lnTo>
                <a:lnTo>
                  <a:pt x="3967162" y="5857496"/>
                </a:lnTo>
                <a:lnTo>
                  <a:pt x="3986212" y="5838446"/>
                </a:lnTo>
                <a:lnTo>
                  <a:pt x="3890962" y="5847971"/>
                </a:lnTo>
                <a:lnTo>
                  <a:pt x="3900487" y="5771771"/>
                </a:lnTo>
                <a:lnTo>
                  <a:pt x="3910012" y="5778121"/>
                </a:lnTo>
                <a:lnTo>
                  <a:pt x="3960812" y="5733671"/>
                </a:lnTo>
                <a:lnTo>
                  <a:pt x="3998912" y="5698746"/>
                </a:lnTo>
                <a:lnTo>
                  <a:pt x="4014787" y="5708271"/>
                </a:lnTo>
                <a:lnTo>
                  <a:pt x="4052887" y="5714621"/>
                </a:lnTo>
                <a:lnTo>
                  <a:pt x="4071937" y="5698746"/>
                </a:lnTo>
                <a:lnTo>
                  <a:pt x="4097337" y="5689221"/>
                </a:lnTo>
                <a:lnTo>
                  <a:pt x="4144962" y="5692396"/>
                </a:lnTo>
                <a:lnTo>
                  <a:pt x="4173537" y="5666996"/>
                </a:lnTo>
                <a:lnTo>
                  <a:pt x="4195762" y="5651121"/>
                </a:lnTo>
                <a:lnTo>
                  <a:pt x="4195762" y="5606671"/>
                </a:lnTo>
                <a:lnTo>
                  <a:pt x="4208462" y="5568571"/>
                </a:lnTo>
                <a:lnTo>
                  <a:pt x="4322762" y="5552696"/>
                </a:lnTo>
                <a:lnTo>
                  <a:pt x="4360862" y="5559046"/>
                </a:lnTo>
                <a:lnTo>
                  <a:pt x="4437062" y="5549521"/>
                </a:lnTo>
                <a:lnTo>
                  <a:pt x="4500562" y="5476496"/>
                </a:lnTo>
                <a:lnTo>
                  <a:pt x="4513262" y="5463796"/>
                </a:lnTo>
                <a:lnTo>
                  <a:pt x="4525962" y="5447921"/>
                </a:lnTo>
                <a:lnTo>
                  <a:pt x="4554537" y="5428871"/>
                </a:lnTo>
                <a:lnTo>
                  <a:pt x="4576762" y="5422521"/>
                </a:lnTo>
                <a:lnTo>
                  <a:pt x="4602162" y="5403471"/>
                </a:lnTo>
                <a:lnTo>
                  <a:pt x="4643437" y="5387596"/>
                </a:lnTo>
                <a:lnTo>
                  <a:pt x="4713287" y="5381246"/>
                </a:lnTo>
                <a:lnTo>
                  <a:pt x="4760912" y="5374896"/>
                </a:lnTo>
                <a:lnTo>
                  <a:pt x="4799012" y="5346321"/>
                </a:lnTo>
                <a:lnTo>
                  <a:pt x="4805362" y="5352671"/>
                </a:lnTo>
                <a:lnTo>
                  <a:pt x="4903787" y="5387596"/>
                </a:lnTo>
                <a:lnTo>
                  <a:pt x="4919662" y="5378071"/>
                </a:lnTo>
                <a:lnTo>
                  <a:pt x="4932362" y="5403471"/>
                </a:lnTo>
                <a:lnTo>
                  <a:pt x="4967287" y="5428871"/>
                </a:lnTo>
                <a:lnTo>
                  <a:pt x="4989512" y="5409821"/>
                </a:lnTo>
                <a:lnTo>
                  <a:pt x="5021262" y="5409821"/>
                </a:lnTo>
                <a:lnTo>
                  <a:pt x="5033962" y="5416171"/>
                </a:lnTo>
                <a:lnTo>
                  <a:pt x="5040312" y="5425696"/>
                </a:lnTo>
                <a:lnTo>
                  <a:pt x="5087937" y="5428871"/>
                </a:lnTo>
                <a:lnTo>
                  <a:pt x="5135562" y="5428871"/>
                </a:lnTo>
                <a:lnTo>
                  <a:pt x="5230812" y="5400296"/>
                </a:lnTo>
                <a:lnTo>
                  <a:pt x="5287962" y="5374896"/>
                </a:lnTo>
                <a:lnTo>
                  <a:pt x="5351462" y="5374896"/>
                </a:lnTo>
                <a:lnTo>
                  <a:pt x="5386387" y="5365371"/>
                </a:lnTo>
                <a:lnTo>
                  <a:pt x="5449887" y="5308221"/>
                </a:lnTo>
                <a:lnTo>
                  <a:pt x="5491162" y="5254246"/>
                </a:lnTo>
                <a:lnTo>
                  <a:pt x="5494337" y="5244721"/>
                </a:lnTo>
                <a:lnTo>
                  <a:pt x="5487987" y="5168521"/>
                </a:lnTo>
                <a:lnTo>
                  <a:pt x="5446712" y="5108196"/>
                </a:lnTo>
                <a:lnTo>
                  <a:pt x="5434012" y="5089146"/>
                </a:lnTo>
                <a:lnTo>
                  <a:pt x="5389562" y="5073271"/>
                </a:lnTo>
                <a:lnTo>
                  <a:pt x="5360987" y="5060571"/>
                </a:lnTo>
                <a:lnTo>
                  <a:pt x="5291137" y="5044696"/>
                </a:lnTo>
                <a:lnTo>
                  <a:pt x="5265740" y="5044696"/>
                </a:lnTo>
                <a:lnTo>
                  <a:pt x="5265738" y="5044697"/>
                </a:lnTo>
                <a:lnTo>
                  <a:pt x="5164138" y="4981197"/>
                </a:lnTo>
                <a:lnTo>
                  <a:pt x="5059363" y="4943097"/>
                </a:lnTo>
                <a:lnTo>
                  <a:pt x="5005388" y="4927222"/>
                </a:lnTo>
                <a:lnTo>
                  <a:pt x="4970463" y="4930397"/>
                </a:lnTo>
                <a:lnTo>
                  <a:pt x="4929188" y="4901822"/>
                </a:lnTo>
                <a:lnTo>
                  <a:pt x="4891088" y="4860547"/>
                </a:lnTo>
                <a:lnTo>
                  <a:pt x="4941888" y="4847847"/>
                </a:lnTo>
                <a:lnTo>
                  <a:pt x="4970463" y="4768472"/>
                </a:lnTo>
                <a:lnTo>
                  <a:pt x="4970463" y="4736722"/>
                </a:lnTo>
                <a:lnTo>
                  <a:pt x="5005388" y="4714497"/>
                </a:lnTo>
                <a:lnTo>
                  <a:pt x="5030788" y="4717672"/>
                </a:lnTo>
                <a:lnTo>
                  <a:pt x="4967288" y="4685922"/>
                </a:lnTo>
                <a:lnTo>
                  <a:pt x="4932363" y="4650997"/>
                </a:lnTo>
                <a:lnTo>
                  <a:pt x="4992688" y="4609722"/>
                </a:lnTo>
                <a:lnTo>
                  <a:pt x="5011738" y="4593847"/>
                </a:lnTo>
                <a:lnTo>
                  <a:pt x="5059363" y="4549397"/>
                </a:lnTo>
                <a:lnTo>
                  <a:pt x="5059363" y="4539872"/>
                </a:lnTo>
                <a:lnTo>
                  <a:pt x="5056188" y="4533522"/>
                </a:lnTo>
                <a:lnTo>
                  <a:pt x="5033963" y="4533522"/>
                </a:lnTo>
                <a:lnTo>
                  <a:pt x="5024438" y="4543047"/>
                </a:lnTo>
                <a:lnTo>
                  <a:pt x="5021263" y="4549397"/>
                </a:lnTo>
                <a:lnTo>
                  <a:pt x="4960938" y="4581147"/>
                </a:lnTo>
                <a:lnTo>
                  <a:pt x="4960573" y="4576402"/>
                </a:lnTo>
                <a:lnTo>
                  <a:pt x="4960572" y="4576402"/>
                </a:lnTo>
                <a:lnTo>
                  <a:pt x="4960937" y="4581146"/>
                </a:lnTo>
                <a:lnTo>
                  <a:pt x="4894262" y="4606546"/>
                </a:lnTo>
                <a:lnTo>
                  <a:pt x="4830762" y="4660521"/>
                </a:lnTo>
                <a:lnTo>
                  <a:pt x="4703762" y="4743071"/>
                </a:lnTo>
                <a:lnTo>
                  <a:pt x="4694237" y="4733546"/>
                </a:lnTo>
                <a:lnTo>
                  <a:pt x="4672012" y="4771646"/>
                </a:lnTo>
                <a:lnTo>
                  <a:pt x="4672012" y="4800221"/>
                </a:lnTo>
                <a:lnTo>
                  <a:pt x="4706937" y="4854196"/>
                </a:lnTo>
                <a:lnTo>
                  <a:pt x="4757737" y="4892296"/>
                </a:lnTo>
                <a:lnTo>
                  <a:pt x="4783137" y="4879596"/>
                </a:lnTo>
                <a:lnTo>
                  <a:pt x="4808537" y="4863721"/>
                </a:lnTo>
                <a:lnTo>
                  <a:pt x="4827587" y="4851021"/>
                </a:lnTo>
                <a:lnTo>
                  <a:pt x="4856162" y="4854196"/>
                </a:lnTo>
                <a:lnTo>
                  <a:pt x="4859337" y="4898646"/>
                </a:lnTo>
                <a:lnTo>
                  <a:pt x="4840287" y="4914521"/>
                </a:lnTo>
                <a:lnTo>
                  <a:pt x="4805362" y="4920871"/>
                </a:lnTo>
                <a:lnTo>
                  <a:pt x="4783137" y="4914521"/>
                </a:lnTo>
                <a:lnTo>
                  <a:pt x="4741862" y="4936746"/>
                </a:lnTo>
                <a:lnTo>
                  <a:pt x="4684712" y="4984371"/>
                </a:lnTo>
                <a:lnTo>
                  <a:pt x="4608512" y="5051046"/>
                </a:lnTo>
                <a:lnTo>
                  <a:pt x="4567237" y="5031996"/>
                </a:lnTo>
                <a:lnTo>
                  <a:pt x="4583112" y="5025646"/>
                </a:lnTo>
                <a:lnTo>
                  <a:pt x="4583112" y="4990721"/>
                </a:lnTo>
                <a:lnTo>
                  <a:pt x="4557712" y="4949446"/>
                </a:lnTo>
                <a:lnTo>
                  <a:pt x="4500562" y="4933571"/>
                </a:lnTo>
                <a:lnTo>
                  <a:pt x="4468812" y="4943096"/>
                </a:lnTo>
                <a:lnTo>
                  <a:pt x="4484687" y="4901821"/>
                </a:lnTo>
                <a:lnTo>
                  <a:pt x="4532312" y="4866896"/>
                </a:lnTo>
                <a:lnTo>
                  <a:pt x="4564062" y="4844671"/>
                </a:lnTo>
                <a:lnTo>
                  <a:pt x="4557712" y="4816096"/>
                </a:lnTo>
                <a:lnTo>
                  <a:pt x="4497387" y="4822446"/>
                </a:lnTo>
                <a:lnTo>
                  <a:pt x="4449762" y="4838321"/>
                </a:lnTo>
                <a:lnTo>
                  <a:pt x="4386262" y="4809746"/>
                </a:lnTo>
                <a:lnTo>
                  <a:pt x="4348162" y="4790696"/>
                </a:lnTo>
                <a:lnTo>
                  <a:pt x="4306887" y="4784346"/>
                </a:lnTo>
                <a:lnTo>
                  <a:pt x="4271962" y="4812921"/>
                </a:lnTo>
                <a:lnTo>
                  <a:pt x="4249737" y="4873246"/>
                </a:lnTo>
                <a:lnTo>
                  <a:pt x="4221162" y="4911346"/>
                </a:lnTo>
                <a:lnTo>
                  <a:pt x="4189412" y="4911346"/>
                </a:lnTo>
                <a:lnTo>
                  <a:pt x="4170362" y="4943096"/>
                </a:lnTo>
                <a:lnTo>
                  <a:pt x="4176712" y="4968496"/>
                </a:lnTo>
                <a:lnTo>
                  <a:pt x="4189412" y="4965321"/>
                </a:lnTo>
                <a:lnTo>
                  <a:pt x="4186237" y="5000246"/>
                </a:lnTo>
                <a:lnTo>
                  <a:pt x="4183062" y="5060571"/>
                </a:lnTo>
                <a:lnTo>
                  <a:pt x="4135437" y="5076446"/>
                </a:lnTo>
                <a:lnTo>
                  <a:pt x="4122737" y="5098671"/>
                </a:lnTo>
                <a:lnTo>
                  <a:pt x="4103687" y="5136771"/>
                </a:lnTo>
                <a:lnTo>
                  <a:pt x="4103687" y="5162171"/>
                </a:lnTo>
                <a:lnTo>
                  <a:pt x="4100512" y="5222496"/>
                </a:lnTo>
                <a:lnTo>
                  <a:pt x="4094162" y="5257421"/>
                </a:lnTo>
                <a:lnTo>
                  <a:pt x="4075112" y="5273296"/>
                </a:lnTo>
                <a:lnTo>
                  <a:pt x="4043362" y="5314571"/>
                </a:lnTo>
                <a:lnTo>
                  <a:pt x="4030662" y="5419346"/>
                </a:lnTo>
                <a:lnTo>
                  <a:pt x="4068762" y="5476496"/>
                </a:lnTo>
                <a:lnTo>
                  <a:pt x="4068762" y="5505071"/>
                </a:lnTo>
                <a:lnTo>
                  <a:pt x="4090987" y="5533646"/>
                </a:lnTo>
                <a:lnTo>
                  <a:pt x="4148137" y="5555871"/>
                </a:lnTo>
                <a:lnTo>
                  <a:pt x="4176712" y="5565396"/>
                </a:lnTo>
                <a:lnTo>
                  <a:pt x="4195762" y="5565396"/>
                </a:lnTo>
                <a:lnTo>
                  <a:pt x="4176712" y="5606671"/>
                </a:lnTo>
                <a:lnTo>
                  <a:pt x="4090987" y="5603496"/>
                </a:lnTo>
                <a:lnTo>
                  <a:pt x="4049712" y="5616196"/>
                </a:lnTo>
                <a:lnTo>
                  <a:pt x="4027487" y="5625721"/>
                </a:lnTo>
                <a:lnTo>
                  <a:pt x="4024312" y="5638421"/>
                </a:lnTo>
                <a:lnTo>
                  <a:pt x="4017962" y="5651121"/>
                </a:lnTo>
                <a:lnTo>
                  <a:pt x="4002087" y="5673346"/>
                </a:lnTo>
                <a:lnTo>
                  <a:pt x="3919537" y="5749546"/>
                </a:lnTo>
                <a:lnTo>
                  <a:pt x="3900487" y="5765421"/>
                </a:lnTo>
                <a:lnTo>
                  <a:pt x="3897312" y="5733671"/>
                </a:lnTo>
                <a:lnTo>
                  <a:pt x="3941762" y="5695571"/>
                </a:lnTo>
                <a:lnTo>
                  <a:pt x="3960812" y="5682871"/>
                </a:lnTo>
                <a:lnTo>
                  <a:pt x="3938587" y="5679696"/>
                </a:lnTo>
                <a:lnTo>
                  <a:pt x="3900487" y="5689221"/>
                </a:lnTo>
                <a:lnTo>
                  <a:pt x="3875087" y="5670171"/>
                </a:lnTo>
                <a:lnTo>
                  <a:pt x="3876049" y="5668889"/>
                </a:lnTo>
                <a:lnTo>
                  <a:pt x="3876048" y="5668889"/>
                </a:lnTo>
                <a:lnTo>
                  <a:pt x="3875086" y="5670171"/>
                </a:lnTo>
                <a:lnTo>
                  <a:pt x="3789361" y="5651121"/>
                </a:lnTo>
                <a:lnTo>
                  <a:pt x="3725861" y="5663821"/>
                </a:lnTo>
                <a:lnTo>
                  <a:pt x="3665536" y="5676521"/>
                </a:lnTo>
                <a:lnTo>
                  <a:pt x="3640136" y="5679696"/>
                </a:lnTo>
                <a:lnTo>
                  <a:pt x="3630611" y="5717796"/>
                </a:lnTo>
                <a:lnTo>
                  <a:pt x="3621086" y="5759071"/>
                </a:lnTo>
                <a:lnTo>
                  <a:pt x="3589336" y="5755896"/>
                </a:lnTo>
                <a:lnTo>
                  <a:pt x="3541711" y="5705096"/>
                </a:lnTo>
                <a:lnTo>
                  <a:pt x="3509961" y="5724146"/>
                </a:lnTo>
                <a:lnTo>
                  <a:pt x="3500436" y="5774946"/>
                </a:lnTo>
                <a:lnTo>
                  <a:pt x="3519486" y="5813046"/>
                </a:lnTo>
                <a:lnTo>
                  <a:pt x="3586161" y="5892421"/>
                </a:lnTo>
                <a:lnTo>
                  <a:pt x="3576636" y="5920996"/>
                </a:lnTo>
                <a:lnTo>
                  <a:pt x="3560761" y="5920996"/>
                </a:lnTo>
                <a:lnTo>
                  <a:pt x="3563936" y="5914646"/>
                </a:lnTo>
                <a:lnTo>
                  <a:pt x="3554411" y="5886071"/>
                </a:lnTo>
                <a:lnTo>
                  <a:pt x="3538536" y="5914646"/>
                </a:lnTo>
                <a:lnTo>
                  <a:pt x="3541711" y="5911471"/>
                </a:lnTo>
                <a:lnTo>
                  <a:pt x="3551236" y="5920996"/>
                </a:lnTo>
                <a:lnTo>
                  <a:pt x="3541711" y="5949571"/>
                </a:lnTo>
                <a:lnTo>
                  <a:pt x="3506786" y="5952746"/>
                </a:lnTo>
                <a:lnTo>
                  <a:pt x="3519486" y="5959096"/>
                </a:lnTo>
                <a:lnTo>
                  <a:pt x="3541711" y="5971796"/>
                </a:lnTo>
                <a:lnTo>
                  <a:pt x="3576636" y="5981321"/>
                </a:lnTo>
                <a:lnTo>
                  <a:pt x="3646486" y="6019421"/>
                </a:lnTo>
                <a:lnTo>
                  <a:pt x="3675061" y="6038471"/>
                </a:lnTo>
                <a:lnTo>
                  <a:pt x="3684586" y="6082921"/>
                </a:lnTo>
                <a:lnTo>
                  <a:pt x="3678236" y="6117846"/>
                </a:lnTo>
                <a:lnTo>
                  <a:pt x="3649661" y="6098796"/>
                </a:lnTo>
                <a:lnTo>
                  <a:pt x="3611561" y="6070221"/>
                </a:lnTo>
                <a:lnTo>
                  <a:pt x="3567111" y="6086096"/>
                </a:lnTo>
                <a:lnTo>
                  <a:pt x="3554411" y="6111496"/>
                </a:lnTo>
                <a:lnTo>
                  <a:pt x="3541711" y="6162296"/>
                </a:lnTo>
                <a:lnTo>
                  <a:pt x="3554411" y="6190871"/>
                </a:lnTo>
                <a:lnTo>
                  <a:pt x="3582986" y="6276596"/>
                </a:lnTo>
                <a:lnTo>
                  <a:pt x="3579811" y="6295646"/>
                </a:lnTo>
                <a:lnTo>
                  <a:pt x="3541711" y="6248021"/>
                </a:lnTo>
                <a:lnTo>
                  <a:pt x="3516311" y="6251196"/>
                </a:lnTo>
                <a:lnTo>
                  <a:pt x="3509961" y="6305171"/>
                </a:lnTo>
                <a:lnTo>
                  <a:pt x="3500436" y="6292471"/>
                </a:lnTo>
                <a:lnTo>
                  <a:pt x="3494086" y="6270246"/>
                </a:lnTo>
                <a:lnTo>
                  <a:pt x="3478211" y="6232146"/>
                </a:lnTo>
                <a:lnTo>
                  <a:pt x="3446461" y="6222621"/>
                </a:lnTo>
                <a:lnTo>
                  <a:pt x="3443286" y="6254371"/>
                </a:lnTo>
                <a:lnTo>
                  <a:pt x="3408361" y="6222621"/>
                </a:lnTo>
                <a:lnTo>
                  <a:pt x="3402011" y="6197221"/>
                </a:lnTo>
                <a:lnTo>
                  <a:pt x="3411536" y="6184521"/>
                </a:lnTo>
                <a:lnTo>
                  <a:pt x="3370261" y="6133721"/>
                </a:lnTo>
                <a:lnTo>
                  <a:pt x="3354386" y="6092446"/>
                </a:lnTo>
                <a:lnTo>
                  <a:pt x="3379786" y="6054346"/>
                </a:lnTo>
                <a:lnTo>
                  <a:pt x="3421061" y="6057521"/>
                </a:lnTo>
                <a:lnTo>
                  <a:pt x="3471861" y="6054346"/>
                </a:lnTo>
                <a:lnTo>
                  <a:pt x="3529011" y="6070221"/>
                </a:lnTo>
                <a:lnTo>
                  <a:pt x="3570286" y="6067046"/>
                </a:lnTo>
                <a:lnTo>
                  <a:pt x="3570286" y="6044821"/>
                </a:lnTo>
                <a:lnTo>
                  <a:pt x="3490911" y="6025771"/>
                </a:lnTo>
                <a:lnTo>
                  <a:pt x="3427411" y="6022596"/>
                </a:lnTo>
                <a:lnTo>
                  <a:pt x="3354386" y="6038471"/>
                </a:lnTo>
                <a:lnTo>
                  <a:pt x="3316286" y="5984496"/>
                </a:lnTo>
                <a:lnTo>
                  <a:pt x="3303586" y="5962271"/>
                </a:lnTo>
                <a:lnTo>
                  <a:pt x="3287711" y="5920996"/>
                </a:lnTo>
                <a:lnTo>
                  <a:pt x="3275011" y="5911471"/>
                </a:lnTo>
                <a:lnTo>
                  <a:pt x="3275011" y="5905121"/>
                </a:lnTo>
                <a:lnTo>
                  <a:pt x="3262311" y="5901946"/>
                </a:lnTo>
                <a:lnTo>
                  <a:pt x="3246436" y="5879721"/>
                </a:lnTo>
                <a:lnTo>
                  <a:pt x="3243261" y="5867021"/>
                </a:lnTo>
                <a:lnTo>
                  <a:pt x="3224211" y="5844796"/>
                </a:lnTo>
                <a:lnTo>
                  <a:pt x="3224212" y="5844796"/>
                </a:lnTo>
                <a:lnTo>
                  <a:pt x="3205162" y="5793996"/>
                </a:lnTo>
                <a:lnTo>
                  <a:pt x="3167062" y="5771771"/>
                </a:lnTo>
                <a:lnTo>
                  <a:pt x="3144837" y="5740021"/>
                </a:lnTo>
                <a:lnTo>
                  <a:pt x="3173412" y="5578096"/>
                </a:lnTo>
                <a:lnTo>
                  <a:pt x="3154362" y="5539996"/>
                </a:lnTo>
                <a:lnTo>
                  <a:pt x="3105150" y="5495546"/>
                </a:lnTo>
                <a:lnTo>
                  <a:pt x="3076575" y="5466971"/>
                </a:lnTo>
                <a:lnTo>
                  <a:pt x="3076575" y="5457446"/>
                </a:lnTo>
                <a:lnTo>
                  <a:pt x="3063875" y="5454271"/>
                </a:lnTo>
                <a:lnTo>
                  <a:pt x="3060700" y="5438396"/>
                </a:lnTo>
                <a:lnTo>
                  <a:pt x="2984500" y="5397121"/>
                </a:lnTo>
                <a:lnTo>
                  <a:pt x="2978150" y="5390771"/>
                </a:lnTo>
                <a:lnTo>
                  <a:pt x="2828925" y="5295521"/>
                </a:lnTo>
                <a:lnTo>
                  <a:pt x="2746375" y="5219321"/>
                </a:lnTo>
                <a:lnTo>
                  <a:pt x="2717800" y="5162171"/>
                </a:lnTo>
                <a:lnTo>
                  <a:pt x="2708275" y="5098671"/>
                </a:lnTo>
                <a:lnTo>
                  <a:pt x="2692400" y="5047871"/>
                </a:lnTo>
                <a:lnTo>
                  <a:pt x="2651125" y="5035171"/>
                </a:lnTo>
                <a:lnTo>
                  <a:pt x="2628900" y="5085971"/>
                </a:lnTo>
                <a:lnTo>
                  <a:pt x="2606675" y="5095496"/>
                </a:lnTo>
                <a:lnTo>
                  <a:pt x="2587625" y="5060571"/>
                </a:lnTo>
                <a:lnTo>
                  <a:pt x="2600325" y="4993896"/>
                </a:lnTo>
                <a:lnTo>
                  <a:pt x="2600325" y="4987546"/>
                </a:lnTo>
                <a:lnTo>
                  <a:pt x="2600325" y="4971671"/>
                </a:lnTo>
                <a:lnTo>
                  <a:pt x="2581275" y="4955796"/>
                </a:lnTo>
                <a:lnTo>
                  <a:pt x="2511425" y="4968496"/>
                </a:lnTo>
                <a:lnTo>
                  <a:pt x="2454275" y="4990721"/>
                </a:lnTo>
                <a:lnTo>
                  <a:pt x="2441575" y="5016121"/>
                </a:lnTo>
                <a:lnTo>
                  <a:pt x="2454275" y="5022471"/>
                </a:lnTo>
                <a:lnTo>
                  <a:pt x="2454275" y="5031996"/>
                </a:lnTo>
                <a:lnTo>
                  <a:pt x="2463800" y="5054221"/>
                </a:lnTo>
                <a:lnTo>
                  <a:pt x="2473325" y="5060571"/>
                </a:lnTo>
                <a:lnTo>
                  <a:pt x="2463800" y="5082796"/>
                </a:lnTo>
                <a:lnTo>
                  <a:pt x="2444750" y="5079621"/>
                </a:lnTo>
                <a:lnTo>
                  <a:pt x="2441575" y="5120896"/>
                </a:lnTo>
                <a:lnTo>
                  <a:pt x="2463800" y="5187571"/>
                </a:lnTo>
                <a:lnTo>
                  <a:pt x="2524125" y="5244721"/>
                </a:lnTo>
                <a:lnTo>
                  <a:pt x="2543175" y="5257421"/>
                </a:lnTo>
                <a:lnTo>
                  <a:pt x="2559050" y="5282821"/>
                </a:lnTo>
                <a:lnTo>
                  <a:pt x="2587625" y="5365371"/>
                </a:lnTo>
                <a:lnTo>
                  <a:pt x="2613025" y="5428871"/>
                </a:lnTo>
                <a:lnTo>
                  <a:pt x="2717800" y="5514596"/>
                </a:lnTo>
                <a:lnTo>
                  <a:pt x="2768600" y="5517771"/>
                </a:lnTo>
                <a:lnTo>
                  <a:pt x="2816225" y="5527296"/>
                </a:lnTo>
                <a:lnTo>
                  <a:pt x="2787650" y="5559046"/>
                </a:lnTo>
                <a:lnTo>
                  <a:pt x="2816225" y="5600321"/>
                </a:lnTo>
                <a:lnTo>
                  <a:pt x="2882900" y="5635246"/>
                </a:lnTo>
                <a:lnTo>
                  <a:pt x="2943225" y="5670171"/>
                </a:lnTo>
                <a:lnTo>
                  <a:pt x="3000375" y="5708271"/>
                </a:lnTo>
                <a:lnTo>
                  <a:pt x="3051175" y="5759071"/>
                </a:lnTo>
                <a:lnTo>
                  <a:pt x="3060700" y="5784471"/>
                </a:lnTo>
                <a:lnTo>
                  <a:pt x="3048000" y="5825746"/>
                </a:lnTo>
                <a:lnTo>
                  <a:pt x="3006725" y="5806696"/>
                </a:lnTo>
                <a:lnTo>
                  <a:pt x="3003550" y="5781296"/>
                </a:lnTo>
                <a:lnTo>
                  <a:pt x="2984500" y="5755896"/>
                </a:lnTo>
                <a:lnTo>
                  <a:pt x="2914650" y="5724146"/>
                </a:lnTo>
                <a:lnTo>
                  <a:pt x="2873375" y="5749546"/>
                </a:lnTo>
                <a:lnTo>
                  <a:pt x="2838450" y="5822571"/>
                </a:lnTo>
                <a:lnTo>
                  <a:pt x="2873375" y="5854321"/>
                </a:lnTo>
                <a:lnTo>
                  <a:pt x="2905125" y="5889246"/>
                </a:lnTo>
                <a:lnTo>
                  <a:pt x="2886075" y="5943221"/>
                </a:lnTo>
                <a:lnTo>
                  <a:pt x="2847975" y="5959096"/>
                </a:lnTo>
                <a:lnTo>
                  <a:pt x="2838450" y="5994021"/>
                </a:lnTo>
                <a:lnTo>
                  <a:pt x="2813050" y="6041646"/>
                </a:lnTo>
                <a:lnTo>
                  <a:pt x="2771775" y="6082921"/>
                </a:lnTo>
                <a:lnTo>
                  <a:pt x="2730500" y="6070221"/>
                </a:lnTo>
                <a:lnTo>
                  <a:pt x="2740025" y="6032121"/>
                </a:lnTo>
                <a:lnTo>
                  <a:pt x="2762250" y="6003546"/>
                </a:lnTo>
                <a:lnTo>
                  <a:pt x="2781300" y="5968621"/>
                </a:lnTo>
                <a:lnTo>
                  <a:pt x="2794000" y="5936871"/>
                </a:lnTo>
                <a:lnTo>
                  <a:pt x="2781300" y="5876546"/>
                </a:lnTo>
                <a:lnTo>
                  <a:pt x="2759075" y="5803521"/>
                </a:lnTo>
                <a:lnTo>
                  <a:pt x="2720975" y="5768596"/>
                </a:lnTo>
                <a:lnTo>
                  <a:pt x="2667000" y="5749546"/>
                </a:lnTo>
                <a:lnTo>
                  <a:pt x="2670175" y="5708271"/>
                </a:lnTo>
                <a:lnTo>
                  <a:pt x="2654300" y="5682871"/>
                </a:lnTo>
                <a:lnTo>
                  <a:pt x="2562225" y="5625721"/>
                </a:lnTo>
                <a:lnTo>
                  <a:pt x="2524125" y="5593971"/>
                </a:lnTo>
                <a:lnTo>
                  <a:pt x="2473325" y="5578096"/>
                </a:lnTo>
                <a:lnTo>
                  <a:pt x="2397125" y="5514596"/>
                </a:lnTo>
                <a:lnTo>
                  <a:pt x="2355850" y="5457446"/>
                </a:lnTo>
                <a:lnTo>
                  <a:pt x="2317750" y="5409821"/>
                </a:lnTo>
                <a:lnTo>
                  <a:pt x="2266950" y="5336796"/>
                </a:lnTo>
                <a:lnTo>
                  <a:pt x="2251075" y="5305046"/>
                </a:lnTo>
                <a:lnTo>
                  <a:pt x="2241550" y="5273296"/>
                </a:lnTo>
                <a:lnTo>
                  <a:pt x="2222500" y="5187571"/>
                </a:lnTo>
                <a:lnTo>
                  <a:pt x="2193925" y="5152646"/>
                </a:lnTo>
                <a:lnTo>
                  <a:pt x="2133600" y="5111371"/>
                </a:lnTo>
                <a:lnTo>
                  <a:pt x="2089150" y="5089146"/>
                </a:lnTo>
                <a:lnTo>
                  <a:pt x="2044700" y="5111371"/>
                </a:lnTo>
                <a:lnTo>
                  <a:pt x="2006600" y="5152646"/>
                </a:lnTo>
                <a:lnTo>
                  <a:pt x="1946275" y="5158996"/>
                </a:lnTo>
                <a:lnTo>
                  <a:pt x="1936750" y="5162171"/>
                </a:lnTo>
                <a:lnTo>
                  <a:pt x="1908175" y="5168521"/>
                </a:lnTo>
                <a:lnTo>
                  <a:pt x="1863725" y="5197096"/>
                </a:lnTo>
                <a:lnTo>
                  <a:pt x="1797050" y="5228846"/>
                </a:lnTo>
                <a:lnTo>
                  <a:pt x="1717675" y="5193921"/>
                </a:lnTo>
                <a:lnTo>
                  <a:pt x="1692275" y="5165346"/>
                </a:lnTo>
                <a:lnTo>
                  <a:pt x="1673225" y="5165346"/>
                </a:lnTo>
                <a:lnTo>
                  <a:pt x="1657350" y="5133596"/>
                </a:lnTo>
                <a:lnTo>
                  <a:pt x="1622425" y="5143121"/>
                </a:lnTo>
                <a:lnTo>
                  <a:pt x="1581150" y="5117721"/>
                </a:lnTo>
                <a:lnTo>
                  <a:pt x="1574800" y="5120896"/>
                </a:lnTo>
                <a:lnTo>
                  <a:pt x="1536700" y="5143121"/>
                </a:lnTo>
                <a:lnTo>
                  <a:pt x="1498600" y="5152646"/>
                </a:lnTo>
                <a:lnTo>
                  <a:pt x="1473200" y="5257421"/>
                </a:lnTo>
                <a:lnTo>
                  <a:pt x="1476375" y="5285996"/>
                </a:lnTo>
                <a:lnTo>
                  <a:pt x="1463675" y="5320921"/>
                </a:lnTo>
                <a:lnTo>
                  <a:pt x="1425575" y="5349496"/>
                </a:lnTo>
                <a:lnTo>
                  <a:pt x="1330325" y="5381246"/>
                </a:lnTo>
                <a:lnTo>
                  <a:pt x="1219200" y="5390771"/>
                </a:lnTo>
                <a:lnTo>
                  <a:pt x="1177925" y="5406646"/>
                </a:lnTo>
                <a:lnTo>
                  <a:pt x="1177925" y="5432046"/>
                </a:lnTo>
                <a:lnTo>
                  <a:pt x="1120775" y="5463796"/>
                </a:lnTo>
                <a:lnTo>
                  <a:pt x="1092200" y="5489196"/>
                </a:lnTo>
                <a:lnTo>
                  <a:pt x="1076325" y="5498721"/>
                </a:lnTo>
                <a:lnTo>
                  <a:pt x="1066800" y="5505071"/>
                </a:lnTo>
                <a:lnTo>
                  <a:pt x="1009650" y="5559046"/>
                </a:lnTo>
                <a:lnTo>
                  <a:pt x="1003300" y="5628896"/>
                </a:lnTo>
                <a:lnTo>
                  <a:pt x="1031875" y="5689221"/>
                </a:lnTo>
                <a:lnTo>
                  <a:pt x="933450" y="5730496"/>
                </a:lnTo>
                <a:lnTo>
                  <a:pt x="895350" y="5774946"/>
                </a:lnTo>
                <a:lnTo>
                  <a:pt x="895350" y="5816221"/>
                </a:lnTo>
                <a:lnTo>
                  <a:pt x="762000" y="5832096"/>
                </a:lnTo>
                <a:lnTo>
                  <a:pt x="717550" y="5882896"/>
                </a:lnTo>
                <a:lnTo>
                  <a:pt x="692150" y="5870196"/>
                </a:lnTo>
                <a:lnTo>
                  <a:pt x="673100" y="5863846"/>
                </a:lnTo>
                <a:lnTo>
                  <a:pt x="654050" y="5870196"/>
                </a:lnTo>
                <a:lnTo>
                  <a:pt x="619125" y="5857496"/>
                </a:lnTo>
                <a:lnTo>
                  <a:pt x="479425" y="5816221"/>
                </a:lnTo>
                <a:lnTo>
                  <a:pt x="447675" y="5816221"/>
                </a:lnTo>
                <a:lnTo>
                  <a:pt x="447675" y="5813046"/>
                </a:lnTo>
                <a:lnTo>
                  <a:pt x="415925" y="5828921"/>
                </a:lnTo>
                <a:lnTo>
                  <a:pt x="390525" y="5819396"/>
                </a:lnTo>
                <a:lnTo>
                  <a:pt x="327025" y="5851146"/>
                </a:lnTo>
                <a:lnTo>
                  <a:pt x="282575" y="5851146"/>
                </a:lnTo>
                <a:lnTo>
                  <a:pt x="250825" y="5800346"/>
                </a:lnTo>
                <a:lnTo>
                  <a:pt x="234950" y="5730496"/>
                </a:lnTo>
                <a:lnTo>
                  <a:pt x="238125" y="5695571"/>
                </a:lnTo>
                <a:lnTo>
                  <a:pt x="215900" y="5660646"/>
                </a:lnTo>
                <a:lnTo>
                  <a:pt x="152400" y="5628896"/>
                </a:lnTo>
                <a:lnTo>
                  <a:pt x="95250" y="5635246"/>
                </a:lnTo>
                <a:lnTo>
                  <a:pt x="44450" y="5603496"/>
                </a:lnTo>
                <a:lnTo>
                  <a:pt x="0" y="5555871"/>
                </a:lnTo>
                <a:lnTo>
                  <a:pt x="25400" y="5511421"/>
                </a:lnTo>
                <a:lnTo>
                  <a:pt x="53975" y="5428871"/>
                </a:lnTo>
                <a:lnTo>
                  <a:pt x="50800" y="5393946"/>
                </a:lnTo>
                <a:lnTo>
                  <a:pt x="34925" y="5387596"/>
                </a:lnTo>
                <a:lnTo>
                  <a:pt x="50800" y="5339971"/>
                </a:lnTo>
                <a:lnTo>
                  <a:pt x="6350" y="5333621"/>
                </a:lnTo>
                <a:lnTo>
                  <a:pt x="117475" y="5203446"/>
                </a:lnTo>
                <a:lnTo>
                  <a:pt x="215900" y="5047871"/>
                </a:lnTo>
                <a:lnTo>
                  <a:pt x="219075" y="4990721"/>
                </a:lnTo>
                <a:lnTo>
                  <a:pt x="247650" y="4933571"/>
                </a:lnTo>
                <a:lnTo>
                  <a:pt x="234950" y="4930396"/>
                </a:lnTo>
                <a:lnTo>
                  <a:pt x="263525" y="4876421"/>
                </a:lnTo>
                <a:lnTo>
                  <a:pt x="263525" y="4816096"/>
                </a:lnTo>
                <a:lnTo>
                  <a:pt x="269875" y="4758946"/>
                </a:lnTo>
                <a:lnTo>
                  <a:pt x="288925" y="4749421"/>
                </a:lnTo>
                <a:lnTo>
                  <a:pt x="314325" y="4749421"/>
                </a:lnTo>
                <a:lnTo>
                  <a:pt x="374650" y="4739896"/>
                </a:lnTo>
                <a:lnTo>
                  <a:pt x="422275" y="4727196"/>
                </a:lnTo>
                <a:lnTo>
                  <a:pt x="460375" y="4749421"/>
                </a:lnTo>
                <a:lnTo>
                  <a:pt x="479425" y="4777996"/>
                </a:lnTo>
                <a:lnTo>
                  <a:pt x="565150" y="4812921"/>
                </a:lnTo>
                <a:lnTo>
                  <a:pt x="654050" y="4844671"/>
                </a:lnTo>
                <a:lnTo>
                  <a:pt x="736600" y="4901821"/>
                </a:lnTo>
                <a:lnTo>
                  <a:pt x="809625" y="4911346"/>
                </a:lnTo>
                <a:lnTo>
                  <a:pt x="841375" y="4924046"/>
                </a:lnTo>
                <a:lnTo>
                  <a:pt x="863600" y="4946271"/>
                </a:lnTo>
                <a:lnTo>
                  <a:pt x="936625" y="4978021"/>
                </a:lnTo>
                <a:lnTo>
                  <a:pt x="1003300" y="4990721"/>
                </a:lnTo>
                <a:lnTo>
                  <a:pt x="1069975" y="4917696"/>
                </a:lnTo>
                <a:lnTo>
                  <a:pt x="1127125" y="4771646"/>
                </a:lnTo>
                <a:lnTo>
                  <a:pt x="1146175" y="4689096"/>
                </a:lnTo>
                <a:lnTo>
                  <a:pt x="1171575" y="4695446"/>
                </a:lnTo>
                <a:lnTo>
                  <a:pt x="1177925" y="4622421"/>
                </a:lnTo>
                <a:lnTo>
                  <a:pt x="1143000" y="4584321"/>
                </a:lnTo>
                <a:lnTo>
                  <a:pt x="1114425" y="4533521"/>
                </a:lnTo>
                <a:lnTo>
                  <a:pt x="1127125" y="4489071"/>
                </a:lnTo>
                <a:lnTo>
                  <a:pt x="1158875" y="4470021"/>
                </a:lnTo>
                <a:lnTo>
                  <a:pt x="1136650" y="4447796"/>
                </a:lnTo>
                <a:lnTo>
                  <a:pt x="1101725" y="4447796"/>
                </a:lnTo>
                <a:lnTo>
                  <a:pt x="1076325" y="4406522"/>
                </a:lnTo>
                <a:lnTo>
                  <a:pt x="1012825" y="4339847"/>
                </a:lnTo>
                <a:lnTo>
                  <a:pt x="923925" y="4266822"/>
                </a:lnTo>
                <a:lnTo>
                  <a:pt x="942975" y="4230309"/>
                </a:lnTo>
                <a:lnTo>
                  <a:pt x="942975" y="4204909"/>
                </a:lnTo>
                <a:lnTo>
                  <a:pt x="968375" y="4195384"/>
                </a:lnTo>
                <a:lnTo>
                  <a:pt x="1009650" y="4201734"/>
                </a:lnTo>
                <a:lnTo>
                  <a:pt x="1044575" y="4211259"/>
                </a:lnTo>
                <a:lnTo>
                  <a:pt x="1060450" y="4208084"/>
                </a:lnTo>
                <a:lnTo>
                  <a:pt x="1095375" y="4204909"/>
                </a:lnTo>
                <a:lnTo>
                  <a:pt x="1111250" y="4220784"/>
                </a:lnTo>
                <a:lnTo>
                  <a:pt x="1127125" y="4260472"/>
                </a:lnTo>
                <a:lnTo>
                  <a:pt x="1155700" y="4254122"/>
                </a:lnTo>
                <a:lnTo>
                  <a:pt x="1168400" y="4254122"/>
                </a:lnTo>
                <a:lnTo>
                  <a:pt x="1250950" y="4285872"/>
                </a:lnTo>
                <a:lnTo>
                  <a:pt x="1238250" y="4266822"/>
                </a:lnTo>
                <a:lnTo>
                  <a:pt x="1247775" y="4233484"/>
                </a:lnTo>
                <a:lnTo>
                  <a:pt x="1250950" y="4195384"/>
                </a:lnTo>
                <a:lnTo>
                  <a:pt x="1244600" y="4169984"/>
                </a:lnTo>
                <a:lnTo>
                  <a:pt x="1250950" y="4138234"/>
                </a:lnTo>
                <a:lnTo>
                  <a:pt x="1244600" y="4131884"/>
                </a:lnTo>
                <a:lnTo>
                  <a:pt x="1270000" y="4141409"/>
                </a:lnTo>
                <a:lnTo>
                  <a:pt x="1301750" y="4147759"/>
                </a:lnTo>
                <a:lnTo>
                  <a:pt x="1295400" y="4163634"/>
                </a:lnTo>
                <a:lnTo>
                  <a:pt x="1295400" y="4179509"/>
                </a:lnTo>
                <a:lnTo>
                  <a:pt x="1377950" y="4233484"/>
                </a:lnTo>
                <a:lnTo>
                  <a:pt x="1450975" y="4220784"/>
                </a:lnTo>
                <a:lnTo>
                  <a:pt x="1416050" y="4211259"/>
                </a:lnTo>
                <a:lnTo>
                  <a:pt x="1438275" y="4182684"/>
                </a:lnTo>
                <a:lnTo>
                  <a:pt x="1489075" y="4173159"/>
                </a:lnTo>
                <a:lnTo>
                  <a:pt x="1533525" y="4173159"/>
                </a:lnTo>
                <a:lnTo>
                  <a:pt x="1574800" y="4138234"/>
                </a:lnTo>
                <a:lnTo>
                  <a:pt x="1593850" y="4068384"/>
                </a:lnTo>
                <a:lnTo>
                  <a:pt x="1631950" y="4049334"/>
                </a:lnTo>
                <a:lnTo>
                  <a:pt x="1685925" y="4049334"/>
                </a:lnTo>
                <a:lnTo>
                  <a:pt x="1752600" y="4023934"/>
                </a:lnTo>
                <a:lnTo>
                  <a:pt x="1765300" y="4020759"/>
                </a:lnTo>
                <a:lnTo>
                  <a:pt x="1809750" y="4004884"/>
                </a:lnTo>
                <a:lnTo>
                  <a:pt x="1841500" y="4036634"/>
                </a:lnTo>
                <a:lnTo>
                  <a:pt x="1851025" y="3960434"/>
                </a:lnTo>
                <a:lnTo>
                  <a:pt x="1892300" y="3919159"/>
                </a:lnTo>
                <a:lnTo>
                  <a:pt x="1924050" y="3868359"/>
                </a:lnTo>
                <a:lnTo>
                  <a:pt x="1946275" y="3842959"/>
                </a:lnTo>
                <a:lnTo>
                  <a:pt x="1993900" y="3820734"/>
                </a:lnTo>
                <a:lnTo>
                  <a:pt x="2041525" y="3798509"/>
                </a:lnTo>
                <a:lnTo>
                  <a:pt x="2111375" y="3798509"/>
                </a:lnTo>
                <a:lnTo>
                  <a:pt x="2136775" y="3808034"/>
                </a:lnTo>
                <a:lnTo>
                  <a:pt x="2168525" y="3776284"/>
                </a:lnTo>
                <a:lnTo>
                  <a:pt x="2216150" y="3782634"/>
                </a:lnTo>
                <a:lnTo>
                  <a:pt x="2251075" y="3804859"/>
                </a:lnTo>
                <a:lnTo>
                  <a:pt x="2282825" y="3766759"/>
                </a:lnTo>
                <a:lnTo>
                  <a:pt x="2308225" y="3747709"/>
                </a:lnTo>
                <a:lnTo>
                  <a:pt x="2317750" y="3715959"/>
                </a:lnTo>
                <a:lnTo>
                  <a:pt x="2311400" y="3658809"/>
                </a:lnTo>
                <a:lnTo>
                  <a:pt x="2305050" y="3627059"/>
                </a:lnTo>
                <a:lnTo>
                  <a:pt x="2311400" y="3595309"/>
                </a:lnTo>
                <a:lnTo>
                  <a:pt x="2314575" y="3554034"/>
                </a:lnTo>
                <a:lnTo>
                  <a:pt x="2292350" y="3519109"/>
                </a:lnTo>
                <a:lnTo>
                  <a:pt x="2289175" y="3446084"/>
                </a:lnTo>
                <a:lnTo>
                  <a:pt x="2305050" y="3382584"/>
                </a:lnTo>
                <a:lnTo>
                  <a:pt x="2320925" y="3350834"/>
                </a:lnTo>
                <a:lnTo>
                  <a:pt x="2349500" y="3319084"/>
                </a:lnTo>
                <a:lnTo>
                  <a:pt x="2384425" y="3322259"/>
                </a:lnTo>
                <a:lnTo>
                  <a:pt x="2419350" y="3315909"/>
                </a:lnTo>
                <a:lnTo>
                  <a:pt x="2447925" y="3290509"/>
                </a:lnTo>
                <a:lnTo>
                  <a:pt x="2492375" y="3265109"/>
                </a:lnTo>
                <a:lnTo>
                  <a:pt x="2498725" y="3271459"/>
                </a:lnTo>
                <a:lnTo>
                  <a:pt x="2501900" y="3309559"/>
                </a:lnTo>
                <a:lnTo>
                  <a:pt x="2466975" y="3350834"/>
                </a:lnTo>
                <a:lnTo>
                  <a:pt x="2473325" y="3404809"/>
                </a:lnTo>
                <a:lnTo>
                  <a:pt x="2479675" y="3420684"/>
                </a:lnTo>
                <a:lnTo>
                  <a:pt x="2505075" y="3423859"/>
                </a:lnTo>
                <a:lnTo>
                  <a:pt x="2511425" y="3455609"/>
                </a:lnTo>
                <a:lnTo>
                  <a:pt x="2473325" y="3493709"/>
                </a:lnTo>
                <a:lnTo>
                  <a:pt x="2400300" y="3554034"/>
                </a:lnTo>
                <a:lnTo>
                  <a:pt x="2374900" y="3604834"/>
                </a:lnTo>
                <a:lnTo>
                  <a:pt x="2378075" y="3627059"/>
                </a:lnTo>
                <a:lnTo>
                  <a:pt x="2365375" y="3649284"/>
                </a:lnTo>
                <a:lnTo>
                  <a:pt x="2403475" y="3674684"/>
                </a:lnTo>
                <a:lnTo>
                  <a:pt x="2435225" y="3719134"/>
                </a:lnTo>
                <a:lnTo>
                  <a:pt x="2479675" y="3728659"/>
                </a:lnTo>
                <a:lnTo>
                  <a:pt x="2466975" y="3785809"/>
                </a:lnTo>
                <a:lnTo>
                  <a:pt x="2498725" y="3782634"/>
                </a:lnTo>
                <a:lnTo>
                  <a:pt x="2530475" y="3782634"/>
                </a:lnTo>
                <a:lnTo>
                  <a:pt x="2597150" y="3747709"/>
                </a:lnTo>
                <a:lnTo>
                  <a:pt x="2638425" y="3741359"/>
                </a:lnTo>
                <a:lnTo>
                  <a:pt x="2654300" y="3754059"/>
                </a:lnTo>
                <a:lnTo>
                  <a:pt x="2663825" y="3769934"/>
                </a:lnTo>
                <a:lnTo>
                  <a:pt x="2701925" y="3782634"/>
                </a:lnTo>
                <a:lnTo>
                  <a:pt x="2714625" y="3833434"/>
                </a:lnTo>
                <a:lnTo>
                  <a:pt x="2746375" y="3852484"/>
                </a:lnTo>
                <a:lnTo>
                  <a:pt x="2743200" y="3827084"/>
                </a:lnTo>
                <a:lnTo>
                  <a:pt x="2743200" y="3820734"/>
                </a:lnTo>
                <a:lnTo>
                  <a:pt x="2778125" y="3811209"/>
                </a:lnTo>
                <a:lnTo>
                  <a:pt x="2911475" y="3776284"/>
                </a:lnTo>
                <a:lnTo>
                  <a:pt x="2946400" y="3744534"/>
                </a:lnTo>
                <a:lnTo>
                  <a:pt x="3000375" y="3722309"/>
                </a:lnTo>
                <a:lnTo>
                  <a:pt x="3092450" y="3712784"/>
                </a:lnTo>
                <a:lnTo>
                  <a:pt x="3101975" y="3719134"/>
                </a:lnTo>
                <a:lnTo>
                  <a:pt x="3108325" y="3766759"/>
                </a:lnTo>
                <a:lnTo>
                  <a:pt x="3135312" y="3779459"/>
                </a:lnTo>
                <a:lnTo>
                  <a:pt x="3189287" y="3763584"/>
                </a:lnTo>
                <a:lnTo>
                  <a:pt x="3217862" y="3715959"/>
                </a:lnTo>
                <a:lnTo>
                  <a:pt x="3217862" y="3696909"/>
                </a:lnTo>
                <a:lnTo>
                  <a:pt x="3230562" y="3696909"/>
                </a:lnTo>
                <a:lnTo>
                  <a:pt x="3255962" y="3693734"/>
                </a:lnTo>
                <a:lnTo>
                  <a:pt x="3297237" y="3649284"/>
                </a:lnTo>
                <a:lnTo>
                  <a:pt x="3306762" y="3633409"/>
                </a:lnTo>
                <a:lnTo>
                  <a:pt x="3309937" y="3604834"/>
                </a:lnTo>
                <a:lnTo>
                  <a:pt x="3306762" y="3573084"/>
                </a:lnTo>
                <a:lnTo>
                  <a:pt x="3306762" y="3538159"/>
                </a:lnTo>
                <a:lnTo>
                  <a:pt x="3297237" y="3506409"/>
                </a:lnTo>
                <a:lnTo>
                  <a:pt x="3303587" y="3436559"/>
                </a:lnTo>
                <a:lnTo>
                  <a:pt x="3328987" y="3363534"/>
                </a:lnTo>
                <a:lnTo>
                  <a:pt x="3354387" y="3322259"/>
                </a:lnTo>
                <a:lnTo>
                  <a:pt x="3402012" y="3303209"/>
                </a:lnTo>
                <a:lnTo>
                  <a:pt x="3436937" y="3328609"/>
                </a:lnTo>
                <a:lnTo>
                  <a:pt x="3462337" y="3363534"/>
                </a:lnTo>
                <a:lnTo>
                  <a:pt x="3471862" y="3385759"/>
                </a:lnTo>
                <a:lnTo>
                  <a:pt x="3532187" y="3385759"/>
                </a:lnTo>
                <a:lnTo>
                  <a:pt x="3557587" y="3354009"/>
                </a:lnTo>
                <a:lnTo>
                  <a:pt x="3544887" y="3290509"/>
                </a:lnTo>
                <a:lnTo>
                  <a:pt x="3548062" y="3271459"/>
                </a:lnTo>
                <a:lnTo>
                  <a:pt x="3557587" y="3204784"/>
                </a:lnTo>
                <a:lnTo>
                  <a:pt x="3544887" y="3198434"/>
                </a:lnTo>
                <a:lnTo>
                  <a:pt x="3538537" y="3214309"/>
                </a:lnTo>
                <a:lnTo>
                  <a:pt x="3503612" y="3204784"/>
                </a:lnTo>
                <a:lnTo>
                  <a:pt x="3481387" y="3179384"/>
                </a:lnTo>
                <a:lnTo>
                  <a:pt x="3471862" y="3138109"/>
                </a:lnTo>
                <a:lnTo>
                  <a:pt x="3475037" y="3084134"/>
                </a:lnTo>
                <a:lnTo>
                  <a:pt x="3529012" y="3055559"/>
                </a:lnTo>
                <a:lnTo>
                  <a:pt x="3608387" y="3039684"/>
                </a:lnTo>
                <a:lnTo>
                  <a:pt x="3656012" y="3017459"/>
                </a:lnTo>
                <a:lnTo>
                  <a:pt x="3690937" y="3020634"/>
                </a:lnTo>
                <a:lnTo>
                  <a:pt x="3716337" y="3033334"/>
                </a:lnTo>
                <a:lnTo>
                  <a:pt x="3779837" y="3033334"/>
                </a:lnTo>
                <a:lnTo>
                  <a:pt x="3795712" y="3026984"/>
                </a:lnTo>
                <a:lnTo>
                  <a:pt x="3795304" y="3031878"/>
                </a:lnTo>
                <a:lnTo>
                  <a:pt x="3795305" y="3031878"/>
                </a:lnTo>
                <a:lnTo>
                  <a:pt x="3795713" y="3026985"/>
                </a:lnTo>
                <a:lnTo>
                  <a:pt x="3795713" y="2998410"/>
                </a:lnTo>
                <a:lnTo>
                  <a:pt x="3836988" y="2976185"/>
                </a:lnTo>
                <a:lnTo>
                  <a:pt x="3862388" y="2953960"/>
                </a:lnTo>
                <a:lnTo>
                  <a:pt x="3871913" y="2938085"/>
                </a:lnTo>
                <a:lnTo>
                  <a:pt x="3849688" y="2909510"/>
                </a:lnTo>
                <a:lnTo>
                  <a:pt x="3808413" y="2868235"/>
                </a:lnTo>
                <a:lnTo>
                  <a:pt x="3803650" y="2868916"/>
                </a:lnTo>
                <a:cubicBezTo>
                  <a:pt x="3791293" y="2872691"/>
                  <a:pt x="3778282" y="2874470"/>
                  <a:pt x="3764909" y="2874450"/>
                </a:cubicBezTo>
                <a:lnTo>
                  <a:pt x="3763963" y="2874585"/>
                </a:lnTo>
                <a:lnTo>
                  <a:pt x="3764003" y="2874528"/>
                </a:lnTo>
                <a:lnTo>
                  <a:pt x="3764000" y="2874528"/>
                </a:lnTo>
                <a:lnTo>
                  <a:pt x="3763961" y="2874583"/>
                </a:lnTo>
                <a:lnTo>
                  <a:pt x="3725861" y="2890458"/>
                </a:lnTo>
                <a:lnTo>
                  <a:pt x="3687761" y="2899983"/>
                </a:lnTo>
                <a:lnTo>
                  <a:pt x="3592511" y="2934908"/>
                </a:lnTo>
                <a:lnTo>
                  <a:pt x="3557586" y="2953958"/>
                </a:lnTo>
                <a:lnTo>
                  <a:pt x="3529011" y="2966658"/>
                </a:lnTo>
                <a:lnTo>
                  <a:pt x="3522661" y="2963483"/>
                </a:lnTo>
                <a:lnTo>
                  <a:pt x="3513136" y="2969833"/>
                </a:lnTo>
                <a:lnTo>
                  <a:pt x="3440111" y="2982533"/>
                </a:lnTo>
                <a:lnTo>
                  <a:pt x="3421061" y="2953958"/>
                </a:lnTo>
                <a:lnTo>
                  <a:pt x="3395661" y="2925383"/>
                </a:lnTo>
                <a:lnTo>
                  <a:pt x="3373436" y="2919033"/>
                </a:lnTo>
                <a:lnTo>
                  <a:pt x="3328986" y="2906333"/>
                </a:lnTo>
                <a:lnTo>
                  <a:pt x="3313111" y="2880933"/>
                </a:lnTo>
                <a:lnTo>
                  <a:pt x="3309936" y="2833308"/>
                </a:lnTo>
                <a:lnTo>
                  <a:pt x="3325811" y="2804733"/>
                </a:lnTo>
                <a:lnTo>
                  <a:pt x="3328986" y="2753933"/>
                </a:lnTo>
                <a:lnTo>
                  <a:pt x="3300411" y="2680908"/>
                </a:lnTo>
                <a:lnTo>
                  <a:pt x="3294061" y="2585658"/>
                </a:lnTo>
                <a:lnTo>
                  <a:pt x="3341686" y="2531683"/>
                </a:lnTo>
                <a:lnTo>
                  <a:pt x="3348036" y="2538033"/>
                </a:lnTo>
                <a:lnTo>
                  <a:pt x="3357561" y="2528508"/>
                </a:lnTo>
                <a:lnTo>
                  <a:pt x="3373436" y="2496758"/>
                </a:lnTo>
                <a:lnTo>
                  <a:pt x="3367086" y="2477708"/>
                </a:lnTo>
                <a:lnTo>
                  <a:pt x="3382961" y="2458658"/>
                </a:lnTo>
                <a:lnTo>
                  <a:pt x="3392486" y="2458658"/>
                </a:lnTo>
                <a:lnTo>
                  <a:pt x="3436936" y="2411033"/>
                </a:lnTo>
                <a:lnTo>
                  <a:pt x="3478211" y="2347533"/>
                </a:lnTo>
                <a:lnTo>
                  <a:pt x="3487736" y="2328483"/>
                </a:lnTo>
                <a:lnTo>
                  <a:pt x="3490911" y="2309433"/>
                </a:lnTo>
                <a:lnTo>
                  <a:pt x="3525836" y="2277683"/>
                </a:lnTo>
                <a:lnTo>
                  <a:pt x="3544886" y="2287208"/>
                </a:lnTo>
                <a:lnTo>
                  <a:pt x="3538536" y="2204658"/>
                </a:lnTo>
                <a:lnTo>
                  <a:pt x="3513136" y="2176083"/>
                </a:lnTo>
                <a:lnTo>
                  <a:pt x="3500436" y="2176083"/>
                </a:lnTo>
                <a:lnTo>
                  <a:pt x="3487736" y="2160208"/>
                </a:lnTo>
                <a:lnTo>
                  <a:pt x="3484561" y="2157033"/>
                </a:lnTo>
                <a:lnTo>
                  <a:pt x="3478211" y="2160208"/>
                </a:lnTo>
                <a:lnTo>
                  <a:pt x="3465511" y="2153858"/>
                </a:lnTo>
                <a:lnTo>
                  <a:pt x="3424237" y="2163383"/>
                </a:lnTo>
                <a:lnTo>
                  <a:pt x="3386137" y="2153858"/>
                </a:lnTo>
                <a:lnTo>
                  <a:pt x="3357562" y="2157033"/>
                </a:lnTo>
                <a:lnTo>
                  <a:pt x="3348037" y="2195133"/>
                </a:lnTo>
                <a:lnTo>
                  <a:pt x="3338512" y="2220533"/>
                </a:lnTo>
                <a:lnTo>
                  <a:pt x="3306762" y="2274508"/>
                </a:lnTo>
                <a:lnTo>
                  <a:pt x="3294062" y="2299908"/>
                </a:lnTo>
                <a:lnTo>
                  <a:pt x="3297237" y="2328483"/>
                </a:lnTo>
                <a:lnTo>
                  <a:pt x="3306762" y="2341183"/>
                </a:lnTo>
                <a:lnTo>
                  <a:pt x="3306762" y="2369758"/>
                </a:lnTo>
                <a:lnTo>
                  <a:pt x="3297237" y="2388808"/>
                </a:lnTo>
                <a:lnTo>
                  <a:pt x="3262312" y="2442783"/>
                </a:lnTo>
                <a:lnTo>
                  <a:pt x="3224212" y="2474533"/>
                </a:lnTo>
                <a:lnTo>
                  <a:pt x="3176587" y="2496758"/>
                </a:lnTo>
                <a:lnTo>
                  <a:pt x="3170237" y="2515808"/>
                </a:lnTo>
                <a:lnTo>
                  <a:pt x="3119437" y="2557083"/>
                </a:lnTo>
                <a:lnTo>
                  <a:pt x="3125787" y="2569783"/>
                </a:lnTo>
                <a:lnTo>
                  <a:pt x="3101975" y="2604708"/>
                </a:lnTo>
                <a:lnTo>
                  <a:pt x="3082925" y="2630108"/>
                </a:lnTo>
                <a:lnTo>
                  <a:pt x="3070224" y="2630108"/>
                </a:lnTo>
                <a:lnTo>
                  <a:pt x="3060700" y="2626933"/>
                </a:lnTo>
                <a:lnTo>
                  <a:pt x="3051175" y="2687258"/>
                </a:lnTo>
                <a:lnTo>
                  <a:pt x="3041650" y="2738058"/>
                </a:lnTo>
                <a:lnTo>
                  <a:pt x="3032125" y="2741233"/>
                </a:lnTo>
                <a:lnTo>
                  <a:pt x="3025775" y="2776158"/>
                </a:lnTo>
                <a:lnTo>
                  <a:pt x="3038475" y="2792033"/>
                </a:lnTo>
                <a:lnTo>
                  <a:pt x="3028950" y="2807908"/>
                </a:lnTo>
                <a:lnTo>
                  <a:pt x="3025775" y="2846008"/>
                </a:lnTo>
                <a:lnTo>
                  <a:pt x="3044825" y="2890458"/>
                </a:lnTo>
                <a:lnTo>
                  <a:pt x="3082925" y="2899983"/>
                </a:lnTo>
                <a:lnTo>
                  <a:pt x="3122612" y="2947608"/>
                </a:lnTo>
                <a:lnTo>
                  <a:pt x="3135312" y="2963483"/>
                </a:lnTo>
                <a:lnTo>
                  <a:pt x="3144837" y="2988883"/>
                </a:lnTo>
                <a:lnTo>
                  <a:pt x="3128962" y="3033333"/>
                </a:lnTo>
                <a:lnTo>
                  <a:pt x="3070224" y="3128583"/>
                </a:lnTo>
                <a:lnTo>
                  <a:pt x="3019425" y="3157158"/>
                </a:lnTo>
                <a:lnTo>
                  <a:pt x="2994025" y="3173033"/>
                </a:lnTo>
                <a:lnTo>
                  <a:pt x="2984500" y="3204783"/>
                </a:lnTo>
                <a:lnTo>
                  <a:pt x="2971800" y="3261933"/>
                </a:lnTo>
                <a:lnTo>
                  <a:pt x="2974975" y="3293683"/>
                </a:lnTo>
                <a:lnTo>
                  <a:pt x="2974975" y="3306383"/>
                </a:lnTo>
                <a:lnTo>
                  <a:pt x="2968625" y="3341308"/>
                </a:lnTo>
                <a:lnTo>
                  <a:pt x="2943225" y="3436558"/>
                </a:lnTo>
                <a:lnTo>
                  <a:pt x="2908300" y="3506408"/>
                </a:lnTo>
                <a:lnTo>
                  <a:pt x="2876550" y="3506408"/>
                </a:lnTo>
                <a:lnTo>
                  <a:pt x="2819400" y="3509583"/>
                </a:lnTo>
                <a:lnTo>
                  <a:pt x="2774950" y="3538158"/>
                </a:lnTo>
                <a:lnTo>
                  <a:pt x="2762250" y="3557208"/>
                </a:lnTo>
                <a:lnTo>
                  <a:pt x="2768600" y="3579433"/>
                </a:lnTo>
                <a:lnTo>
                  <a:pt x="2771775" y="3598483"/>
                </a:lnTo>
                <a:lnTo>
                  <a:pt x="2752725" y="3614358"/>
                </a:lnTo>
                <a:lnTo>
                  <a:pt x="2727325" y="3611183"/>
                </a:lnTo>
                <a:lnTo>
                  <a:pt x="2701925" y="3611183"/>
                </a:lnTo>
                <a:lnTo>
                  <a:pt x="2651125" y="3604833"/>
                </a:lnTo>
                <a:lnTo>
                  <a:pt x="2657475" y="3576258"/>
                </a:lnTo>
                <a:lnTo>
                  <a:pt x="2651125" y="3531808"/>
                </a:lnTo>
                <a:lnTo>
                  <a:pt x="2654300" y="3474658"/>
                </a:lnTo>
                <a:lnTo>
                  <a:pt x="2663825" y="3430208"/>
                </a:lnTo>
                <a:lnTo>
                  <a:pt x="2660650" y="3414333"/>
                </a:lnTo>
                <a:lnTo>
                  <a:pt x="2628900" y="3366708"/>
                </a:lnTo>
                <a:lnTo>
                  <a:pt x="2622550" y="3322258"/>
                </a:lnTo>
                <a:lnTo>
                  <a:pt x="2609850" y="3274633"/>
                </a:lnTo>
                <a:lnTo>
                  <a:pt x="2603500" y="3223833"/>
                </a:lnTo>
                <a:lnTo>
                  <a:pt x="2597150" y="3182558"/>
                </a:lnTo>
                <a:lnTo>
                  <a:pt x="2578100" y="3150808"/>
                </a:lnTo>
                <a:lnTo>
                  <a:pt x="2574925" y="3087308"/>
                </a:lnTo>
                <a:lnTo>
                  <a:pt x="2584450" y="3071433"/>
                </a:lnTo>
                <a:lnTo>
                  <a:pt x="2587425" y="3074408"/>
                </a:lnTo>
                <a:lnTo>
                  <a:pt x="2584450" y="3071432"/>
                </a:lnTo>
                <a:lnTo>
                  <a:pt x="2565400" y="3058732"/>
                </a:lnTo>
                <a:lnTo>
                  <a:pt x="2533650" y="3042857"/>
                </a:lnTo>
                <a:lnTo>
                  <a:pt x="2495550" y="3074607"/>
                </a:lnTo>
                <a:lnTo>
                  <a:pt x="2397125" y="3134932"/>
                </a:lnTo>
                <a:lnTo>
                  <a:pt x="2349500" y="3169857"/>
                </a:lnTo>
                <a:lnTo>
                  <a:pt x="2301875" y="3179382"/>
                </a:lnTo>
                <a:lnTo>
                  <a:pt x="2225675" y="3144457"/>
                </a:lnTo>
                <a:lnTo>
                  <a:pt x="2184400" y="3096832"/>
                </a:lnTo>
                <a:lnTo>
                  <a:pt x="2162175" y="3046032"/>
                </a:lnTo>
                <a:lnTo>
                  <a:pt x="2178050" y="3023807"/>
                </a:lnTo>
                <a:lnTo>
                  <a:pt x="2200275" y="3007932"/>
                </a:lnTo>
                <a:lnTo>
                  <a:pt x="2232025" y="2973007"/>
                </a:lnTo>
                <a:lnTo>
                  <a:pt x="2206625" y="2969832"/>
                </a:lnTo>
                <a:lnTo>
                  <a:pt x="2181225" y="2973007"/>
                </a:lnTo>
                <a:lnTo>
                  <a:pt x="2168525" y="2957132"/>
                </a:lnTo>
                <a:lnTo>
                  <a:pt x="2174875" y="2925382"/>
                </a:lnTo>
                <a:lnTo>
                  <a:pt x="2193925" y="2912682"/>
                </a:lnTo>
                <a:lnTo>
                  <a:pt x="2219325" y="2887282"/>
                </a:lnTo>
                <a:lnTo>
                  <a:pt x="2219325" y="2874582"/>
                </a:lnTo>
                <a:lnTo>
                  <a:pt x="2212975" y="2852357"/>
                </a:lnTo>
                <a:lnTo>
                  <a:pt x="2197100" y="2852357"/>
                </a:lnTo>
                <a:lnTo>
                  <a:pt x="2190750" y="2817432"/>
                </a:lnTo>
                <a:lnTo>
                  <a:pt x="2206625" y="2798382"/>
                </a:lnTo>
                <a:lnTo>
                  <a:pt x="2206625" y="2753932"/>
                </a:lnTo>
                <a:lnTo>
                  <a:pt x="2203450" y="2722182"/>
                </a:lnTo>
                <a:lnTo>
                  <a:pt x="2206625" y="2703132"/>
                </a:lnTo>
                <a:lnTo>
                  <a:pt x="2222500" y="2684082"/>
                </a:lnTo>
                <a:lnTo>
                  <a:pt x="2225675" y="2661857"/>
                </a:lnTo>
                <a:lnTo>
                  <a:pt x="2219325" y="2633282"/>
                </a:lnTo>
                <a:lnTo>
                  <a:pt x="2241550" y="2614232"/>
                </a:lnTo>
                <a:lnTo>
                  <a:pt x="2244725" y="2566607"/>
                </a:lnTo>
                <a:lnTo>
                  <a:pt x="2282825" y="2569782"/>
                </a:lnTo>
                <a:lnTo>
                  <a:pt x="2308225" y="2563432"/>
                </a:lnTo>
                <a:lnTo>
                  <a:pt x="2330450" y="2525332"/>
                </a:lnTo>
                <a:lnTo>
                  <a:pt x="2339975" y="2525332"/>
                </a:lnTo>
                <a:lnTo>
                  <a:pt x="2374900" y="2528507"/>
                </a:lnTo>
                <a:lnTo>
                  <a:pt x="2381250" y="2515807"/>
                </a:lnTo>
                <a:lnTo>
                  <a:pt x="2384425" y="2487232"/>
                </a:lnTo>
                <a:lnTo>
                  <a:pt x="2409825" y="2480882"/>
                </a:lnTo>
                <a:lnTo>
                  <a:pt x="2447925" y="2493582"/>
                </a:lnTo>
                <a:lnTo>
                  <a:pt x="2460625" y="2474532"/>
                </a:lnTo>
                <a:lnTo>
                  <a:pt x="2498725" y="2445957"/>
                </a:lnTo>
                <a:lnTo>
                  <a:pt x="2543175" y="2442782"/>
                </a:lnTo>
                <a:lnTo>
                  <a:pt x="2546350" y="2430082"/>
                </a:lnTo>
                <a:lnTo>
                  <a:pt x="2571750" y="2420557"/>
                </a:lnTo>
                <a:lnTo>
                  <a:pt x="2571750" y="2395157"/>
                </a:lnTo>
                <a:lnTo>
                  <a:pt x="2600325" y="2360232"/>
                </a:lnTo>
                <a:lnTo>
                  <a:pt x="2622550" y="2341182"/>
                </a:lnTo>
                <a:lnTo>
                  <a:pt x="2641600" y="2315782"/>
                </a:lnTo>
                <a:lnTo>
                  <a:pt x="2663825" y="2325307"/>
                </a:lnTo>
                <a:lnTo>
                  <a:pt x="2663825" y="2303082"/>
                </a:lnTo>
                <a:lnTo>
                  <a:pt x="2679700" y="2303082"/>
                </a:lnTo>
                <a:lnTo>
                  <a:pt x="2692400" y="2322132"/>
                </a:lnTo>
                <a:lnTo>
                  <a:pt x="2708275" y="2306257"/>
                </a:lnTo>
                <a:lnTo>
                  <a:pt x="2701925" y="2287207"/>
                </a:lnTo>
                <a:lnTo>
                  <a:pt x="2692400" y="2274507"/>
                </a:lnTo>
                <a:lnTo>
                  <a:pt x="2711450" y="2252282"/>
                </a:lnTo>
                <a:lnTo>
                  <a:pt x="2743200" y="2236407"/>
                </a:lnTo>
                <a:lnTo>
                  <a:pt x="2762250" y="2239582"/>
                </a:lnTo>
                <a:lnTo>
                  <a:pt x="2778125" y="2204657"/>
                </a:lnTo>
                <a:lnTo>
                  <a:pt x="2774950" y="2166557"/>
                </a:lnTo>
                <a:lnTo>
                  <a:pt x="2781300" y="2144332"/>
                </a:lnTo>
                <a:lnTo>
                  <a:pt x="2800350" y="2106232"/>
                </a:lnTo>
                <a:lnTo>
                  <a:pt x="2809875" y="2096707"/>
                </a:lnTo>
                <a:lnTo>
                  <a:pt x="2822575" y="2064957"/>
                </a:lnTo>
                <a:lnTo>
                  <a:pt x="2832100" y="2036382"/>
                </a:lnTo>
                <a:lnTo>
                  <a:pt x="2870200" y="1985582"/>
                </a:lnTo>
                <a:lnTo>
                  <a:pt x="2895600" y="1982407"/>
                </a:lnTo>
                <a:lnTo>
                  <a:pt x="2917825" y="1957007"/>
                </a:lnTo>
                <a:lnTo>
                  <a:pt x="2940050" y="1953832"/>
                </a:lnTo>
                <a:lnTo>
                  <a:pt x="2940050" y="1947482"/>
                </a:lnTo>
                <a:lnTo>
                  <a:pt x="2936875" y="1909382"/>
                </a:lnTo>
                <a:lnTo>
                  <a:pt x="2959100" y="1877632"/>
                </a:lnTo>
                <a:lnTo>
                  <a:pt x="2943225" y="1871282"/>
                </a:lnTo>
                <a:lnTo>
                  <a:pt x="2952750" y="1858582"/>
                </a:lnTo>
                <a:lnTo>
                  <a:pt x="2968625" y="1855407"/>
                </a:lnTo>
                <a:lnTo>
                  <a:pt x="2997200" y="1855407"/>
                </a:lnTo>
                <a:lnTo>
                  <a:pt x="3006725" y="1842707"/>
                </a:lnTo>
                <a:lnTo>
                  <a:pt x="3019425" y="1849057"/>
                </a:lnTo>
                <a:lnTo>
                  <a:pt x="3048000" y="1836357"/>
                </a:lnTo>
                <a:lnTo>
                  <a:pt x="3035300" y="1817307"/>
                </a:lnTo>
                <a:lnTo>
                  <a:pt x="3038475" y="1785557"/>
                </a:lnTo>
                <a:lnTo>
                  <a:pt x="3044825" y="1760157"/>
                </a:lnTo>
                <a:lnTo>
                  <a:pt x="3057525" y="1750632"/>
                </a:lnTo>
                <a:lnTo>
                  <a:pt x="3076575" y="1734757"/>
                </a:lnTo>
                <a:lnTo>
                  <a:pt x="3092449" y="1718882"/>
                </a:lnTo>
                <a:lnTo>
                  <a:pt x="3105149" y="1693482"/>
                </a:lnTo>
                <a:lnTo>
                  <a:pt x="3132137" y="1642682"/>
                </a:lnTo>
                <a:lnTo>
                  <a:pt x="3144837" y="1636332"/>
                </a:lnTo>
                <a:lnTo>
                  <a:pt x="3151187" y="1629982"/>
                </a:lnTo>
                <a:lnTo>
                  <a:pt x="3167062" y="1617282"/>
                </a:lnTo>
                <a:lnTo>
                  <a:pt x="3233737" y="1572832"/>
                </a:lnTo>
                <a:lnTo>
                  <a:pt x="3240087" y="1582357"/>
                </a:lnTo>
                <a:lnTo>
                  <a:pt x="3249612" y="1601407"/>
                </a:lnTo>
                <a:lnTo>
                  <a:pt x="3265487" y="1588707"/>
                </a:lnTo>
                <a:lnTo>
                  <a:pt x="3281362" y="1569657"/>
                </a:lnTo>
                <a:lnTo>
                  <a:pt x="3281362" y="1537907"/>
                </a:lnTo>
                <a:lnTo>
                  <a:pt x="3322637" y="1525207"/>
                </a:lnTo>
                <a:lnTo>
                  <a:pt x="3344862" y="1531557"/>
                </a:lnTo>
                <a:lnTo>
                  <a:pt x="3363912" y="1537907"/>
                </a:lnTo>
                <a:lnTo>
                  <a:pt x="3392487" y="1522032"/>
                </a:lnTo>
                <a:lnTo>
                  <a:pt x="3408362" y="1477582"/>
                </a:lnTo>
                <a:lnTo>
                  <a:pt x="3421062" y="1445832"/>
                </a:lnTo>
                <a:lnTo>
                  <a:pt x="3436937" y="1449007"/>
                </a:lnTo>
                <a:lnTo>
                  <a:pt x="3443287" y="1423607"/>
                </a:lnTo>
                <a:lnTo>
                  <a:pt x="3465512" y="1423607"/>
                </a:lnTo>
                <a:lnTo>
                  <a:pt x="3484562" y="1426782"/>
                </a:lnTo>
                <a:lnTo>
                  <a:pt x="3500437" y="1433132"/>
                </a:lnTo>
                <a:lnTo>
                  <a:pt x="3484562" y="1461707"/>
                </a:lnTo>
                <a:lnTo>
                  <a:pt x="3468687" y="1487107"/>
                </a:lnTo>
                <a:lnTo>
                  <a:pt x="3462337" y="1537907"/>
                </a:lnTo>
                <a:lnTo>
                  <a:pt x="3471862" y="1550607"/>
                </a:lnTo>
                <a:lnTo>
                  <a:pt x="3484562" y="1525207"/>
                </a:lnTo>
                <a:lnTo>
                  <a:pt x="3494087" y="1490282"/>
                </a:lnTo>
                <a:lnTo>
                  <a:pt x="3519487" y="1429957"/>
                </a:lnTo>
                <a:lnTo>
                  <a:pt x="3535362" y="1439482"/>
                </a:lnTo>
                <a:lnTo>
                  <a:pt x="3535362" y="1474407"/>
                </a:lnTo>
                <a:lnTo>
                  <a:pt x="3535362" y="1499807"/>
                </a:lnTo>
                <a:lnTo>
                  <a:pt x="3551237" y="1487107"/>
                </a:lnTo>
                <a:lnTo>
                  <a:pt x="3557587" y="1445832"/>
                </a:lnTo>
                <a:lnTo>
                  <a:pt x="3554412" y="1420432"/>
                </a:lnTo>
                <a:lnTo>
                  <a:pt x="3570287" y="1401382"/>
                </a:lnTo>
                <a:lnTo>
                  <a:pt x="3602037" y="1391857"/>
                </a:lnTo>
                <a:lnTo>
                  <a:pt x="3617912" y="1404557"/>
                </a:lnTo>
                <a:lnTo>
                  <a:pt x="3617912" y="1420432"/>
                </a:lnTo>
                <a:lnTo>
                  <a:pt x="3624262" y="1436307"/>
                </a:lnTo>
                <a:lnTo>
                  <a:pt x="3662362" y="1426782"/>
                </a:lnTo>
                <a:lnTo>
                  <a:pt x="3659187" y="1445832"/>
                </a:lnTo>
                <a:lnTo>
                  <a:pt x="3671887" y="1439482"/>
                </a:lnTo>
                <a:lnTo>
                  <a:pt x="3681412" y="1429957"/>
                </a:lnTo>
                <a:lnTo>
                  <a:pt x="3697287" y="1429957"/>
                </a:lnTo>
                <a:lnTo>
                  <a:pt x="3735387" y="1455357"/>
                </a:lnTo>
                <a:lnTo>
                  <a:pt x="3744912" y="1464882"/>
                </a:lnTo>
                <a:lnTo>
                  <a:pt x="3751262" y="1483932"/>
                </a:lnTo>
                <a:lnTo>
                  <a:pt x="3697287" y="1525207"/>
                </a:lnTo>
                <a:lnTo>
                  <a:pt x="3665537" y="1518857"/>
                </a:lnTo>
                <a:lnTo>
                  <a:pt x="3636962" y="1518857"/>
                </a:lnTo>
                <a:lnTo>
                  <a:pt x="3675062" y="1534732"/>
                </a:lnTo>
                <a:lnTo>
                  <a:pt x="3694112" y="1537907"/>
                </a:lnTo>
                <a:lnTo>
                  <a:pt x="3700462" y="1569657"/>
                </a:lnTo>
                <a:lnTo>
                  <a:pt x="3713162" y="1569657"/>
                </a:lnTo>
                <a:lnTo>
                  <a:pt x="3725862" y="1572832"/>
                </a:lnTo>
                <a:lnTo>
                  <a:pt x="3725862" y="1563307"/>
                </a:lnTo>
                <a:lnTo>
                  <a:pt x="3719512" y="1550607"/>
                </a:lnTo>
                <a:lnTo>
                  <a:pt x="3725862" y="1547432"/>
                </a:lnTo>
                <a:lnTo>
                  <a:pt x="3751262" y="1553782"/>
                </a:lnTo>
                <a:lnTo>
                  <a:pt x="3754437" y="1553782"/>
                </a:lnTo>
                <a:lnTo>
                  <a:pt x="3755162" y="1562476"/>
                </a:lnTo>
                <a:lnTo>
                  <a:pt x="3755163" y="1562476"/>
                </a:lnTo>
                <a:lnTo>
                  <a:pt x="3754438" y="1553785"/>
                </a:lnTo>
                <a:lnTo>
                  <a:pt x="3783013" y="1560135"/>
                </a:lnTo>
                <a:lnTo>
                  <a:pt x="3795713" y="1563310"/>
                </a:lnTo>
                <a:lnTo>
                  <a:pt x="3798888" y="1541085"/>
                </a:lnTo>
                <a:lnTo>
                  <a:pt x="3811588" y="1522035"/>
                </a:lnTo>
                <a:lnTo>
                  <a:pt x="3843338" y="1534735"/>
                </a:lnTo>
                <a:lnTo>
                  <a:pt x="3868738" y="1541085"/>
                </a:lnTo>
                <a:lnTo>
                  <a:pt x="3859213" y="1566485"/>
                </a:lnTo>
                <a:lnTo>
                  <a:pt x="3890963" y="1579185"/>
                </a:lnTo>
                <a:lnTo>
                  <a:pt x="3922713" y="1588710"/>
                </a:lnTo>
                <a:lnTo>
                  <a:pt x="3963988" y="1585535"/>
                </a:lnTo>
                <a:lnTo>
                  <a:pt x="4024313" y="1588710"/>
                </a:lnTo>
                <a:lnTo>
                  <a:pt x="4103688" y="1620460"/>
                </a:lnTo>
                <a:lnTo>
                  <a:pt x="4135438" y="1633160"/>
                </a:lnTo>
                <a:lnTo>
                  <a:pt x="4170363" y="1658560"/>
                </a:lnTo>
                <a:lnTo>
                  <a:pt x="4221163" y="1677610"/>
                </a:lnTo>
                <a:lnTo>
                  <a:pt x="4252913" y="1690310"/>
                </a:lnTo>
                <a:lnTo>
                  <a:pt x="4332288" y="1712535"/>
                </a:lnTo>
                <a:lnTo>
                  <a:pt x="4376738" y="1769685"/>
                </a:lnTo>
                <a:lnTo>
                  <a:pt x="4389438" y="1826835"/>
                </a:lnTo>
                <a:lnTo>
                  <a:pt x="4376738" y="1877635"/>
                </a:lnTo>
                <a:lnTo>
                  <a:pt x="4354513" y="1918910"/>
                </a:lnTo>
                <a:lnTo>
                  <a:pt x="4300538" y="1966535"/>
                </a:lnTo>
                <a:lnTo>
                  <a:pt x="4233863" y="1985585"/>
                </a:lnTo>
                <a:lnTo>
                  <a:pt x="4160838" y="1976060"/>
                </a:lnTo>
                <a:lnTo>
                  <a:pt x="4078288" y="1969710"/>
                </a:lnTo>
                <a:lnTo>
                  <a:pt x="4002088" y="1957010"/>
                </a:lnTo>
                <a:lnTo>
                  <a:pt x="3967163" y="1950660"/>
                </a:lnTo>
                <a:lnTo>
                  <a:pt x="3932238" y="1925260"/>
                </a:lnTo>
                <a:lnTo>
                  <a:pt x="3925888" y="1912560"/>
                </a:lnTo>
                <a:lnTo>
                  <a:pt x="3910013" y="1906210"/>
                </a:lnTo>
                <a:lnTo>
                  <a:pt x="3875088" y="1912560"/>
                </a:lnTo>
                <a:lnTo>
                  <a:pt x="3906838" y="1934785"/>
                </a:lnTo>
                <a:lnTo>
                  <a:pt x="3925888" y="1947485"/>
                </a:lnTo>
                <a:lnTo>
                  <a:pt x="3941763" y="1972885"/>
                </a:lnTo>
                <a:lnTo>
                  <a:pt x="3976688" y="1988760"/>
                </a:lnTo>
                <a:lnTo>
                  <a:pt x="4002088" y="2001460"/>
                </a:lnTo>
                <a:lnTo>
                  <a:pt x="4078288" y="2058610"/>
                </a:lnTo>
                <a:lnTo>
                  <a:pt x="4090988" y="2077660"/>
                </a:lnTo>
                <a:lnTo>
                  <a:pt x="4081463" y="2112585"/>
                </a:lnTo>
                <a:lnTo>
                  <a:pt x="4075113" y="2118935"/>
                </a:lnTo>
                <a:lnTo>
                  <a:pt x="4068763" y="2131635"/>
                </a:lnTo>
                <a:lnTo>
                  <a:pt x="4103688" y="2182435"/>
                </a:lnTo>
                <a:lnTo>
                  <a:pt x="4116388" y="2214185"/>
                </a:lnTo>
                <a:lnTo>
                  <a:pt x="4116388" y="2239585"/>
                </a:lnTo>
                <a:lnTo>
                  <a:pt x="4154488" y="2261810"/>
                </a:lnTo>
                <a:lnTo>
                  <a:pt x="4164013" y="2261810"/>
                </a:lnTo>
                <a:lnTo>
                  <a:pt x="4170363" y="2249110"/>
                </a:lnTo>
                <a:lnTo>
                  <a:pt x="4205288" y="2268160"/>
                </a:lnTo>
                <a:lnTo>
                  <a:pt x="4224338" y="2293560"/>
                </a:lnTo>
                <a:lnTo>
                  <a:pt x="4249738" y="2299910"/>
                </a:lnTo>
                <a:lnTo>
                  <a:pt x="4275138" y="2303085"/>
                </a:lnTo>
                <a:lnTo>
                  <a:pt x="4310063" y="2284035"/>
                </a:lnTo>
                <a:lnTo>
                  <a:pt x="4332288" y="2268160"/>
                </a:lnTo>
                <a:lnTo>
                  <a:pt x="4316413" y="2230060"/>
                </a:lnTo>
                <a:lnTo>
                  <a:pt x="4259263" y="2223710"/>
                </a:lnTo>
                <a:lnTo>
                  <a:pt x="4221163" y="2179260"/>
                </a:lnTo>
                <a:lnTo>
                  <a:pt x="4217988" y="2134810"/>
                </a:lnTo>
                <a:lnTo>
                  <a:pt x="4224338" y="2118935"/>
                </a:lnTo>
                <a:lnTo>
                  <a:pt x="4265613" y="2125285"/>
                </a:lnTo>
                <a:lnTo>
                  <a:pt x="4306888" y="2163385"/>
                </a:lnTo>
                <a:lnTo>
                  <a:pt x="4319588" y="2153860"/>
                </a:lnTo>
                <a:lnTo>
                  <a:pt x="4335463" y="2150685"/>
                </a:lnTo>
                <a:lnTo>
                  <a:pt x="4376738" y="2157035"/>
                </a:lnTo>
                <a:lnTo>
                  <a:pt x="4414838" y="2163385"/>
                </a:lnTo>
                <a:lnTo>
                  <a:pt x="4456113" y="2150685"/>
                </a:lnTo>
                <a:lnTo>
                  <a:pt x="4452938" y="2144335"/>
                </a:lnTo>
                <a:lnTo>
                  <a:pt x="4389438" y="2068135"/>
                </a:lnTo>
                <a:lnTo>
                  <a:pt x="4367213" y="2039560"/>
                </a:lnTo>
                <a:lnTo>
                  <a:pt x="4373563" y="2014160"/>
                </a:lnTo>
                <a:lnTo>
                  <a:pt x="4408488" y="1957010"/>
                </a:lnTo>
                <a:lnTo>
                  <a:pt x="4443413" y="1912560"/>
                </a:lnTo>
                <a:lnTo>
                  <a:pt x="4452938" y="1871285"/>
                </a:lnTo>
                <a:lnTo>
                  <a:pt x="4462463" y="1852235"/>
                </a:lnTo>
                <a:lnTo>
                  <a:pt x="4513263" y="1845885"/>
                </a:lnTo>
                <a:lnTo>
                  <a:pt x="4545013" y="1855410"/>
                </a:lnTo>
                <a:lnTo>
                  <a:pt x="4570413" y="1861760"/>
                </a:lnTo>
                <a:lnTo>
                  <a:pt x="4573588" y="1849060"/>
                </a:lnTo>
                <a:lnTo>
                  <a:pt x="4570413" y="1795085"/>
                </a:lnTo>
                <a:lnTo>
                  <a:pt x="4560888" y="1760160"/>
                </a:lnTo>
                <a:lnTo>
                  <a:pt x="4522788" y="1728410"/>
                </a:lnTo>
                <a:lnTo>
                  <a:pt x="4503738" y="1731585"/>
                </a:lnTo>
                <a:lnTo>
                  <a:pt x="4497388" y="1683960"/>
                </a:lnTo>
                <a:lnTo>
                  <a:pt x="4478338" y="1601410"/>
                </a:lnTo>
                <a:lnTo>
                  <a:pt x="4468813" y="1579185"/>
                </a:lnTo>
                <a:lnTo>
                  <a:pt x="4452938" y="1569660"/>
                </a:lnTo>
                <a:lnTo>
                  <a:pt x="4418013" y="1556960"/>
                </a:lnTo>
                <a:lnTo>
                  <a:pt x="4405313" y="1547435"/>
                </a:lnTo>
                <a:lnTo>
                  <a:pt x="4411663" y="1541085"/>
                </a:lnTo>
                <a:lnTo>
                  <a:pt x="4443413" y="1550610"/>
                </a:lnTo>
                <a:lnTo>
                  <a:pt x="4471988" y="1537910"/>
                </a:lnTo>
                <a:lnTo>
                  <a:pt x="4529138" y="1518860"/>
                </a:lnTo>
                <a:lnTo>
                  <a:pt x="4570413" y="1534735"/>
                </a:lnTo>
                <a:lnTo>
                  <a:pt x="4592638" y="1553785"/>
                </a:lnTo>
                <a:lnTo>
                  <a:pt x="4614863" y="1579185"/>
                </a:lnTo>
                <a:lnTo>
                  <a:pt x="4598988" y="1601410"/>
                </a:lnTo>
                <a:lnTo>
                  <a:pt x="4570413" y="1620460"/>
                </a:lnTo>
                <a:lnTo>
                  <a:pt x="4554538" y="1652210"/>
                </a:lnTo>
                <a:lnTo>
                  <a:pt x="4564063" y="1690310"/>
                </a:lnTo>
                <a:lnTo>
                  <a:pt x="4608513" y="1709360"/>
                </a:lnTo>
                <a:lnTo>
                  <a:pt x="4627563" y="1728410"/>
                </a:lnTo>
                <a:lnTo>
                  <a:pt x="4643438" y="1734760"/>
                </a:lnTo>
                <a:lnTo>
                  <a:pt x="4672013" y="1725235"/>
                </a:lnTo>
                <a:lnTo>
                  <a:pt x="4700588" y="1703010"/>
                </a:lnTo>
                <a:lnTo>
                  <a:pt x="4716463" y="1677610"/>
                </a:lnTo>
                <a:lnTo>
                  <a:pt x="4703763" y="1620460"/>
                </a:lnTo>
                <a:lnTo>
                  <a:pt x="4687888" y="1595060"/>
                </a:lnTo>
                <a:lnTo>
                  <a:pt x="4694238" y="1582360"/>
                </a:lnTo>
                <a:lnTo>
                  <a:pt x="4722813" y="1563310"/>
                </a:lnTo>
                <a:lnTo>
                  <a:pt x="4764088" y="1480760"/>
                </a:lnTo>
                <a:lnTo>
                  <a:pt x="4776788" y="1445835"/>
                </a:lnTo>
                <a:lnTo>
                  <a:pt x="4799013" y="1414085"/>
                </a:lnTo>
                <a:lnTo>
                  <a:pt x="4818063" y="1388685"/>
                </a:lnTo>
                <a:lnTo>
                  <a:pt x="4846638" y="1331535"/>
                </a:lnTo>
                <a:lnTo>
                  <a:pt x="4862513" y="1296610"/>
                </a:lnTo>
                <a:lnTo>
                  <a:pt x="4881563" y="1274385"/>
                </a:lnTo>
                <a:lnTo>
                  <a:pt x="4894263" y="1274385"/>
                </a:lnTo>
                <a:lnTo>
                  <a:pt x="4894263" y="1279735"/>
                </a:lnTo>
                <a:lnTo>
                  <a:pt x="4898728" y="1278545"/>
                </a:lnTo>
                <a:lnTo>
                  <a:pt x="4896768" y="1310459"/>
                </a:lnTo>
                <a:lnTo>
                  <a:pt x="4896573" y="1343665"/>
                </a:lnTo>
                <a:lnTo>
                  <a:pt x="4897438" y="1360110"/>
                </a:lnTo>
                <a:lnTo>
                  <a:pt x="4903788" y="1382335"/>
                </a:lnTo>
                <a:lnTo>
                  <a:pt x="4935538" y="1369635"/>
                </a:lnTo>
                <a:lnTo>
                  <a:pt x="4948002" y="1364650"/>
                </a:lnTo>
                <a:lnTo>
                  <a:pt x="4956592" y="1349820"/>
                </a:lnTo>
                <a:lnTo>
                  <a:pt x="4967288" y="1322010"/>
                </a:lnTo>
                <a:lnTo>
                  <a:pt x="4967767" y="1320414"/>
                </a:lnTo>
                <a:lnTo>
                  <a:pt x="4971345" y="1295820"/>
                </a:lnTo>
                <a:lnTo>
                  <a:pt x="4991866" y="1274658"/>
                </a:lnTo>
                <a:lnTo>
                  <a:pt x="4992615" y="1274458"/>
                </a:lnTo>
                <a:lnTo>
                  <a:pt x="4992688" y="1274385"/>
                </a:lnTo>
                <a:lnTo>
                  <a:pt x="4992890" y="1274385"/>
                </a:lnTo>
                <a:lnTo>
                  <a:pt x="5021177" y="1266848"/>
                </a:lnTo>
                <a:lnTo>
                  <a:pt x="5048865" y="1233311"/>
                </a:lnTo>
                <a:lnTo>
                  <a:pt x="5053429" y="1211168"/>
                </a:lnTo>
                <a:lnTo>
                  <a:pt x="5064180" y="1192608"/>
                </a:lnTo>
                <a:lnTo>
                  <a:pt x="5085681" y="1155488"/>
                </a:lnTo>
                <a:lnTo>
                  <a:pt x="5095451" y="1152884"/>
                </a:lnTo>
                <a:lnTo>
                  <a:pt x="5105221" y="1150282"/>
                </a:lnTo>
                <a:lnTo>
                  <a:pt x="5136155" y="1168199"/>
                </a:lnTo>
                <a:lnTo>
                  <a:pt x="5131590" y="1190343"/>
                </a:lnTo>
                <a:lnTo>
                  <a:pt x="5142983" y="1213467"/>
                </a:lnTo>
                <a:lnTo>
                  <a:pt x="5162523" y="1208261"/>
                </a:lnTo>
                <a:lnTo>
                  <a:pt x="5179461" y="1193284"/>
                </a:lnTo>
                <a:lnTo>
                  <a:pt x="5177196" y="1125873"/>
                </a:lnTo>
                <a:lnTo>
                  <a:pt x="5170367" y="1080605"/>
                </a:lnTo>
                <a:lnTo>
                  <a:pt x="5151807" y="1069855"/>
                </a:lnTo>
                <a:lnTo>
                  <a:pt x="5127061" y="1055521"/>
                </a:lnTo>
                <a:lnTo>
                  <a:pt x="5102314" y="1041186"/>
                </a:lnTo>
                <a:lnTo>
                  <a:pt x="5103294" y="1025229"/>
                </a:lnTo>
                <a:lnTo>
                  <a:pt x="5108838" y="987129"/>
                </a:lnTo>
                <a:lnTo>
                  <a:pt x="5138149" y="979319"/>
                </a:lnTo>
                <a:lnTo>
                  <a:pt x="5187981" y="950347"/>
                </a:lnTo>
                <a:lnTo>
                  <a:pt x="5250185" y="928542"/>
                </a:lnTo>
                <a:lnTo>
                  <a:pt x="5279496" y="920732"/>
                </a:lnTo>
                <a:lnTo>
                  <a:pt x="5317597" y="926277"/>
                </a:lnTo>
                <a:lnTo>
                  <a:pt x="5343323" y="924654"/>
                </a:lnTo>
                <a:lnTo>
                  <a:pt x="5353094" y="922050"/>
                </a:lnTo>
                <a:lnTo>
                  <a:pt x="5369050" y="923031"/>
                </a:lnTo>
                <a:lnTo>
                  <a:pt x="5388591" y="917825"/>
                </a:lnTo>
                <a:close/>
                <a:moveTo>
                  <a:pt x="4677733" y="704367"/>
                </a:moveTo>
                <a:lnTo>
                  <a:pt x="4709646" y="706328"/>
                </a:lnTo>
                <a:lnTo>
                  <a:pt x="4728206" y="717079"/>
                </a:lnTo>
                <a:lnTo>
                  <a:pt x="4720059" y="745409"/>
                </a:lnTo>
                <a:lnTo>
                  <a:pt x="4725265" y="764949"/>
                </a:lnTo>
                <a:lnTo>
                  <a:pt x="4734697" y="819987"/>
                </a:lnTo>
                <a:lnTo>
                  <a:pt x="4746091" y="843111"/>
                </a:lnTo>
                <a:lnTo>
                  <a:pt x="4760086" y="876005"/>
                </a:lnTo>
                <a:lnTo>
                  <a:pt x="4805016" y="926818"/>
                </a:lnTo>
                <a:lnTo>
                  <a:pt x="4844740" y="958088"/>
                </a:lnTo>
                <a:lnTo>
                  <a:pt x="4891629" y="976987"/>
                </a:lnTo>
                <a:lnTo>
                  <a:pt x="4923544" y="978948"/>
                </a:lnTo>
                <a:lnTo>
                  <a:pt x="4925166" y="1004676"/>
                </a:lnTo>
                <a:lnTo>
                  <a:pt x="4902043" y="1016068"/>
                </a:lnTo>
                <a:lnTo>
                  <a:pt x="4882502" y="1021274"/>
                </a:lnTo>
                <a:lnTo>
                  <a:pt x="4871751" y="1039834"/>
                </a:lnTo>
                <a:lnTo>
                  <a:pt x="4855794" y="1038854"/>
                </a:lnTo>
                <a:lnTo>
                  <a:pt x="4838856" y="1053830"/>
                </a:lnTo>
                <a:lnTo>
                  <a:pt x="4841460" y="1063600"/>
                </a:lnTo>
                <a:lnTo>
                  <a:pt x="4835274" y="1060017"/>
                </a:lnTo>
                <a:lnTo>
                  <a:pt x="4800756" y="1048286"/>
                </a:lnTo>
                <a:lnTo>
                  <a:pt x="4777632" y="1059679"/>
                </a:lnTo>
                <a:lnTo>
                  <a:pt x="4748322" y="1067488"/>
                </a:lnTo>
                <a:lnTo>
                  <a:pt x="4759072" y="1048928"/>
                </a:lnTo>
                <a:lnTo>
                  <a:pt x="4744096" y="1031991"/>
                </a:lnTo>
                <a:lnTo>
                  <a:pt x="4706976" y="1010490"/>
                </a:lnTo>
                <a:lnTo>
                  <a:pt x="4691019" y="1009510"/>
                </a:lnTo>
                <a:lnTo>
                  <a:pt x="4684832" y="1005926"/>
                </a:lnTo>
                <a:lnTo>
                  <a:pt x="4676042" y="992572"/>
                </a:lnTo>
                <a:lnTo>
                  <a:pt x="4661708" y="1017318"/>
                </a:lnTo>
                <a:lnTo>
                  <a:pt x="4645751" y="1016338"/>
                </a:lnTo>
                <a:lnTo>
                  <a:pt x="4618402" y="992234"/>
                </a:lnTo>
                <a:lnTo>
                  <a:pt x="4618739" y="934593"/>
                </a:lnTo>
                <a:lnTo>
                  <a:pt x="4628509" y="931990"/>
                </a:lnTo>
                <a:lnTo>
                  <a:pt x="4638280" y="929387"/>
                </a:lnTo>
                <a:lnTo>
                  <a:pt x="4630471" y="900076"/>
                </a:lnTo>
                <a:lnTo>
                  <a:pt x="4628848" y="874349"/>
                </a:lnTo>
                <a:lnTo>
                  <a:pt x="4607684" y="853828"/>
                </a:lnTo>
                <a:lnTo>
                  <a:pt x="4605082" y="844058"/>
                </a:lnTo>
                <a:lnTo>
                  <a:pt x="4609645" y="821915"/>
                </a:lnTo>
                <a:lnTo>
                  <a:pt x="4616813" y="809541"/>
                </a:lnTo>
                <a:lnTo>
                  <a:pt x="4609003" y="780231"/>
                </a:lnTo>
                <a:lnTo>
                  <a:pt x="4613567" y="758087"/>
                </a:lnTo>
                <a:lnTo>
                  <a:pt x="4648422" y="712177"/>
                </a:lnTo>
                <a:close/>
                <a:moveTo>
                  <a:pt x="3468223" y="382227"/>
                </a:moveTo>
                <a:lnTo>
                  <a:pt x="3482311" y="398866"/>
                </a:lnTo>
                <a:lnTo>
                  <a:pt x="3467979" y="422428"/>
                </a:lnTo>
                <a:lnTo>
                  <a:pt x="3487959" y="442650"/>
                </a:lnTo>
                <a:lnTo>
                  <a:pt x="3503322" y="443926"/>
                </a:lnTo>
                <a:lnTo>
                  <a:pt x="3515103" y="451092"/>
                </a:lnTo>
                <a:lnTo>
                  <a:pt x="3507937" y="462873"/>
                </a:lnTo>
                <a:lnTo>
                  <a:pt x="3491297" y="476961"/>
                </a:lnTo>
                <a:lnTo>
                  <a:pt x="3480549" y="494632"/>
                </a:lnTo>
                <a:lnTo>
                  <a:pt x="3476965" y="500523"/>
                </a:lnTo>
                <a:lnTo>
                  <a:pt x="3447270" y="522809"/>
                </a:lnTo>
                <a:lnTo>
                  <a:pt x="3437797" y="525116"/>
                </a:lnTo>
                <a:lnTo>
                  <a:pt x="3434457" y="490806"/>
                </a:lnTo>
                <a:lnTo>
                  <a:pt x="3424983" y="493113"/>
                </a:lnTo>
                <a:lnTo>
                  <a:pt x="3406037" y="497729"/>
                </a:lnTo>
                <a:lnTo>
                  <a:pt x="3400147" y="494146"/>
                </a:lnTo>
                <a:lnTo>
                  <a:pt x="3401422" y="478781"/>
                </a:lnTo>
                <a:lnTo>
                  <a:pt x="3415755" y="455220"/>
                </a:lnTo>
                <a:lnTo>
                  <a:pt x="3421888" y="418602"/>
                </a:lnTo>
                <a:lnTo>
                  <a:pt x="3407800" y="401963"/>
                </a:lnTo>
                <a:lnTo>
                  <a:pt x="3411383" y="396073"/>
                </a:lnTo>
                <a:lnTo>
                  <a:pt x="3439803" y="389150"/>
                </a:lnTo>
                <a:close/>
                <a:moveTo>
                  <a:pt x="3435431" y="330001"/>
                </a:moveTo>
                <a:lnTo>
                  <a:pt x="3449520" y="346641"/>
                </a:lnTo>
                <a:lnTo>
                  <a:pt x="3452859" y="380951"/>
                </a:lnTo>
                <a:lnTo>
                  <a:pt x="3443386" y="383259"/>
                </a:lnTo>
                <a:lnTo>
                  <a:pt x="3418548" y="384290"/>
                </a:lnTo>
                <a:lnTo>
                  <a:pt x="3410350" y="371235"/>
                </a:lnTo>
                <a:lnTo>
                  <a:pt x="3408044" y="361761"/>
                </a:lnTo>
                <a:lnTo>
                  <a:pt x="3399845" y="348705"/>
                </a:lnTo>
                <a:close/>
                <a:moveTo>
                  <a:pt x="3177041" y="237390"/>
                </a:moveTo>
                <a:lnTo>
                  <a:pt x="3181656" y="256336"/>
                </a:lnTo>
                <a:lnTo>
                  <a:pt x="3180136" y="311901"/>
                </a:lnTo>
                <a:lnTo>
                  <a:pt x="3183476" y="346212"/>
                </a:lnTo>
                <a:lnTo>
                  <a:pt x="3176554" y="317791"/>
                </a:lnTo>
                <a:lnTo>
                  <a:pt x="3168600" y="264535"/>
                </a:lnTo>
                <a:lnTo>
                  <a:pt x="3169875" y="249171"/>
                </a:lnTo>
                <a:close/>
                <a:moveTo>
                  <a:pt x="3345742" y="105980"/>
                </a:moveTo>
                <a:lnTo>
                  <a:pt x="3357522" y="113146"/>
                </a:lnTo>
                <a:lnTo>
                  <a:pt x="3376226" y="148732"/>
                </a:lnTo>
                <a:lnTo>
                  <a:pt x="3385455" y="186626"/>
                </a:lnTo>
                <a:lnTo>
                  <a:pt x="3387519" y="236300"/>
                </a:lnTo>
                <a:lnTo>
                  <a:pt x="3399300" y="243466"/>
                </a:lnTo>
                <a:lnTo>
                  <a:pt x="3403915" y="262412"/>
                </a:lnTo>
                <a:lnTo>
                  <a:pt x="3412112" y="275469"/>
                </a:lnTo>
                <a:lnTo>
                  <a:pt x="3435675" y="289801"/>
                </a:lnTo>
                <a:lnTo>
                  <a:pt x="3440290" y="308748"/>
                </a:lnTo>
                <a:lnTo>
                  <a:pt x="3429541" y="326419"/>
                </a:lnTo>
                <a:lnTo>
                  <a:pt x="3402396" y="317977"/>
                </a:lnTo>
                <a:lnTo>
                  <a:pt x="3372700" y="340264"/>
                </a:lnTo>
                <a:lnTo>
                  <a:pt x="3369117" y="346154"/>
                </a:lnTo>
                <a:lnTo>
                  <a:pt x="3364259" y="367409"/>
                </a:lnTo>
                <a:lnTo>
                  <a:pt x="3360676" y="373299"/>
                </a:lnTo>
                <a:lnTo>
                  <a:pt x="3343793" y="427588"/>
                </a:lnTo>
                <a:lnTo>
                  <a:pt x="3318712" y="468821"/>
                </a:lnTo>
                <a:lnTo>
                  <a:pt x="3311546" y="480602"/>
                </a:lnTo>
                <a:lnTo>
                  <a:pt x="3275473" y="579708"/>
                </a:lnTo>
                <a:lnTo>
                  <a:pt x="3261142" y="603269"/>
                </a:lnTo>
                <a:lnTo>
                  <a:pt x="3251668" y="605576"/>
                </a:lnTo>
                <a:lnTo>
                  <a:pt x="3230658" y="560517"/>
                </a:lnTo>
                <a:lnTo>
                  <a:pt x="3229625" y="535680"/>
                </a:lnTo>
                <a:lnTo>
                  <a:pt x="3207339" y="505983"/>
                </a:lnTo>
                <a:lnTo>
                  <a:pt x="3204000" y="471673"/>
                </a:lnTo>
                <a:lnTo>
                  <a:pt x="3205276" y="456309"/>
                </a:lnTo>
                <a:lnTo>
                  <a:pt x="3208858" y="450419"/>
                </a:lnTo>
                <a:lnTo>
                  <a:pt x="3224222" y="451694"/>
                </a:lnTo>
                <a:lnTo>
                  <a:pt x="3226529" y="461168"/>
                </a:lnTo>
                <a:lnTo>
                  <a:pt x="3230112" y="455277"/>
                </a:lnTo>
                <a:lnTo>
                  <a:pt x="3231388" y="439914"/>
                </a:lnTo>
                <a:lnTo>
                  <a:pt x="3217299" y="423275"/>
                </a:lnTo>
                <a:lnTo>
                  <a:pt x="3211409" y="419692"/>
                </a:lnTo>
                <a:lnTo>
                  <a:pt x="3217543" y="383074"/>
                </a:lnTo>
                <a:lnTo>
                  <a:pt x="3221125" y="377183"/>
                </a:lnTo>
                <a:lnTo>
                  <a:pt x="3236490" y="378459"/>
                </a:lnTo>
                <a:lnTo>
                  <a:pt x="3255437" y="373844"/>
                </a:lnTo>
                <a:lnTo>
                  <a:pt x="3275658" y="353865"/>
                </a:lnTo>
                <a:lnTo>
                  <a:pt x="3286408" y="336193"/>
                </a:lnTo>
                <a:lnTo>
                  <a:pt x="3279486" y="307773"/>
                </a:lnTo>
                <a:lnTo>
                  <a:pt x="3291510" y="274739"/>
                </a:lnTo>
                <a:lnTo>
                  <a:pt x="3278454" y="282937"/>
                </a:lnTo>
                <a:lnTo>
                  <a:pt x="3261814" y="297024"/>
                </a:lnTo>
                <a:lnTo>
                  <a:pt x="3255680" y="333642"/>
                </a:lnTo>
                <a:lnTo>
                  <a:pt x="3239041" y="347731"/>
                </a:lnTo>
                <a:lnTo>
                  <a:pt x="3225984" y="355929"/>
                </a:lnTo>
                <a:lnTo>
                  <a:pt x="3208314" y="345180"/>
                </a:lnTo>
                <a:lnTo>
                  <a:pt x="3196776" y="297813"/>
                </a:lnTo>
                <a:lnTo>
                  <a:pt x="3189853" y="269393"/>
                </a:lnTo>
                <a:lnTo>
                  <a:pt x="3195987" y="232775"/>
                </a:lnTo>
                <a:lnTo>
                  <a:pt x="3197263" y="217411"/>
                </a:lnTo>
                <a:lnTo>
                  <a:pt x="3201089" y="171320"/>
                </a:lnTo>
                <a:lnTo>
                  <a:pt x="3242809" y="115998"/>
                </a:lnTo>
                <a:lnTo>
                  <a:pt x="3273538" y="118550"/>
                </a:lnTo>
                <a:lnTo>
                  <a:pt x="3288901" y="119825"/>
                </a:lnTo>
                <a:lnTo>
                  <a:pt x="3287625" y="135189"/>
                </a:lnTo>
                <a:lnTo>
                  <a:pt x="3282767" y="156443"/>
                </a:lnTo>
                <a:lnTo>
                  <a:pt x="3302989" y="136464"/>
                </a:lnTo>
                <a:lnTo>
                  <a:pt x="3308880" y="140047"/>
                </a:lnTo>
                <a:lnTo>
                  <a:pt x="3308637" y="180249"/>
                </a:lnTo>
                <a:lnTo>
                  <a:pt x="3317622" y="258343"/>
                </a:lnTo>
                <a:lnTo>
                  <a:pt x="3319141" y="202778"/>
                </a:lnTo>
                <a:lnTo>
                  <a:pt x="3331409" y="129542"/>
                </a:lnTo>
                <a:close/>
                <a:moveTo>
                  <a:pt x="3439443" y="58068"/>
                </a:moveTo>
                <a:lnTo>
                  <a:pt x="3467620" y="91346"/>
                </a:lnTo>
                <a:lnTo>
                  <a:pt x="3477093" y="89040"/>
                </a:lnTo>
                <a:lnTo>
                  <a:pt x="3480432" y="123350"/>
                </a:lnTo>
                <a:lnTo>
                  <a:pt x="3497315" y="69061"/>
                </a:lnTo>
                <a:lnTo>
                  <a:pt x="3506789" y="66753"/>
                </a:lnTo>
                <a:lnTo>
                  <a:pt x="3507821" y="91591"/>
                </a:lnTo>
                <a:lnTo>
                  <a:pt x="3504238" y="97481"/>
                </a:lnTo>
                <a:lnTo>
                  <a:pt x="3497072" y="109261"/>
                </a:lnTo>
                <a:lnTo>
                  <a:pt x="3508853" y="116427"/>
                </a:lnTo>
                <a:lnTo>
                  <a:pt x="3523185" y="92866"/>
                </a:lnTo>
                <a:lnTo>
                  <a:pt x="3534965" y="100032"/>
                </a:lnTo>
                <a:lnTo>
                  <a:pt x="3544438" y="97724"/>
                </a:lnTo>
                <a:lnTo>
                  <a:pt x="3571584" y="106166"/>
                </a:lnTo>
                <a:lnTo>
                  <a:pt x="3581056" y="103859"/>
                </a:lnTo>
                <a:lnTo>
                  <a:pt x="3595145" y="120498"/>
                </a:lnTo>
                <a:lnTo>
                  <a:pt x="3593869" y="135861"/>
                </a:lnTo>
                <a:lnTo>
                  <a:pt x="3567513" y="192458"/>
                </a:lnTo>
                <a:lnTo>
                  <a:pt x="3553181" y="216020"/>
                </a:lnTo>
                <a:lnTo>
                  <a:pt x="3536543" y="230108"/>
                </a:lnTo>
                <a:lnTo>
                  <a:pt x="3500956" y="248811"/>
                </a:lnTo>
                <a:lnTo>
                  <a:pt x="3491482" y="251119"/>
                </a:lnTo>
                <a:lnTo>
                  <a:pt x="3477395" y="234479"/>
                </a:lnTo>
                <a:lnTo>
                  <a:pt x="3478670" y="219115"/>
                </a:lnTo>
                <a:lnTo>
                  <a:pt x="3466889" y="211949"/>
                </a:lnTo>
                <a:lnTo>
                  <a:pt x="3453833" y="220148"/>
                </a:lnTo>
                <a:lnTo>
                  <a:pt x="3438468" y="218872"/>
                </a:lnTo>
                <a:lnTo>
                  <a:pt x="3420797" y="208123"/>
                </a:lnTo>
                <a:lnTo>
                  <a:pt x="3412600" y="195067"/>
                </a:lnTo>
                <a:lnTo>
                  <a:pt x="3405677" y="166647"/>
                </a:lnTo>
                <a:lnTo>
                  <a:pt x="3383391" y="136951"/>
                </a:lnTo>
                <a:lnTo>
                  <a:pt x="3385942" y="106224"/>
                </a:lnTo>
                <a:lnTo>
                  <a:pt x="3408472" y="95718"/>
                </a:lnTo>
                <a:close/>
                <a:moveTo>
                  <a:pt x="4788281" y="0"/>
                </a:moveTo>
                <a:lnTo>
                  <a:pt x="4816611" y="8147"/>
                </a:lnTo>
                <a:lnTo>
                  <a:pt x="4834191" y="34854"/>
                </a:lnTo>
                <a:lnTo>
                  <a:pt x="4839397" y="54394"/>
                </a:lnTo>
                <a:lnTo>
                  <a:pt x="4837435" y="86309"/>
                </a:lnTo>
                <a:lnTo>
                  <a:pt x="4824725" y="136783"/>
                </a:lnTo>
                <a:lnTo>
                  <a:pt x="4812994" y="171300"/>
                </a:lnTo>
                <a:lnTo>
                  <a:pt x="4759241" y="264100"/>
                </a:lnTo>
                <a:lnTo>
                  <a:pt x="4735441" y="390775"/>
                </a:lnTo>
                <a:lnTo>
                  <a:pt x="4738044" y="400544"/>
                </a:lnTo>
                <a:lnTo>
                  <a:pt x="4723372" y="482932"/>
                </a:lnTo>
                <a:lnTo>
                  <a:pt x="4721411" y="514846"/>
                </a:lnTo>
                <a:lnTo>
                  <a:pt x="4722053" y="556530"/>
                </a:lnTo>
                <a:lnTo>
                  <a:pt x="4728544" y="659438"/>
                </a:lnTo>
                <a:lnTo>
                  <a:pt x="4720397" y="687768"/>
                </a:lnTo>
                <a:lnTo>
                  <a:pt x="4652985" y="690034"/>
                </a:lnTo>
                <a:lnTo>
                  <a:pt x="4628881" y="717383"/>
                </a:lnTo>
                <a:lnTo>
                  <a:pt x="4606738" y="712819"/>
                </a:lnTo>
                <a:lnTo>
                  <a:pt x="4589158" y="686112"/>
                </a:lnTo>
                <a:lnTo>
                  <a:pt x="4586555" y="676341"/>
                </a:lnTo>
                <a:lnTo>
                  <a:pt x="4604473" y="645408"/>
                </a:lnTo>
                <a:lnTo>
                  <a:pt x="4616203" y="610892"/>
                </a:lnTo>
                <a:lnTo>
                  <a:pt x="4639328" y="599499"/>
                </a:lnTo>
                <a:lnTo>
                  <a:pt x="4630538" y="586145"/>
                </a:lnTo>
                <a:lnTo>
                  <a:pt x="4610355" y="549667"/>
                </a:lnTo>
                <a:lnTo>
                  <a:pt x="4604168" y="546083"/>
                </a:lnTo>
                <a:lnTo>
                  <a:pt x="4595378" y="532730"/>
                </a:lnTo>
                <a:lnTo>
                  <a:pt x="4599942" y="510586"/>
                </a:lnTo>
                <a:lnTo>
                  <a:pt x="4582363" y="483879"/>
                </a:lnTo>
                <a:lnTo>
                  <a:pt x="4574553" y="454568"/>
                </a:lnTo>
                <a:lnTo>
                  <a:pt x="4590510" y="455548"/>
                </a:lnTo>
                <a:lnTo>
                  <a:pt x="4587907" y="445779"/>
                </a:lnTo>
                <a:lnTo>
                  <a:pt x="4611369" y="376744"/>
                </a:lnTo>
                <a:lnTo>
                  <a:pt x="4612349" y="360788"/>
                </a:lnTo>
                <a:lnTo>
                  <a:pt x="4616913" y="338644"/>
                </a:lnTo>
                <a:lnTo>
                  <a:pt x="4625061" y="310314"/>
                </a:lnTo>
                <a:lnTo>
                  <a:pt x="4638415" y="301524"/>
                </a:lnTo>
                <a:lnTo>
                  <a:pt x="4662857" y="216533"/>
                </a:lnTo>
                <a:lnTo>
                  <a:pt x="4692168" y="208723"/>
                </a:lnTo>
                <a:lnTo>
                  <a:pt x="4730606" y="156627"/>
                </a:lnTo>
                <a:lnTo>
                  <a:pt x="4749504" y="109737"/>
                </a:lnTo>
                <a:lnTo>
                  <a:pt x="4745279" y="74240"/>
                </a:lnTo>
                <a:lnTo>
                  <a:pt x="4749842" y="52096"/>
                </a:lnTo>
                <a:lnTo>
                  <a:pt x="4768740" y="5206"/>
                </a:lnTo>
                <a:close/>
              </a:path>
            </a:pathLst>
          </a:custGeom>
          <a:solidFill>
            <a:srgbClr val="B8CEDB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47C44C1-8021-C2A4-330F-2811117268FA}"/>
              </a:ext>
            </a:extLst>
          </p:cNvPr>
          <p:cNvSpPr/>
          <p:nvPr/>
        </p:nvSpPr>
        <p:spPr>
          <a:xfrm>
            <a:off x="7324623" y="1881529"/>
            <a:ext cx="1733316" cy="66697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i="1" dirty="0">
                <a:solidFill>
                  <a:schemeClr val="tx2"/>
                </a:solidFill>
                <a:cs typeface="Aldhabi" panose="020F0502020204030204" pitchFamily="2" charset="-78"/>
              </a:rPr>
              <a:t>40 </a:t>
            </a:r>
            <a:r>
              <a:rPr lang="de-DE" sz="1400" i="1" dirty="0">
                <a:solidFill>
                  <a:schemeClr val="tx2"/>
                </a:solidFill>
                <a:cs typeface="Aldhabi" panose="020F0502020204030204" pitchFamily="2" charset="-78"/>
              </a:rPr>
              <a:t>TSOs = </a:t>
            </a:r>
          </a:p>
          <a:p>
            <a:pPr algn="ctr"/>
            <a:r>
              <a:rPr lang="de-DE" sz="1400" b="1" i="1" dirty="0">
                <a:solidFill>
                  <a:schemeClr val="tx2"/>
                </a:solidFill>
                <a:cs typeface="Aldhabi" panose="020F0502020204030204" pitchFamily="2" charset="-78"/>
              </a:rPr>
              <a:t>40+</a:t>
            </a:r>
            <a:r>
              <a:rPr lang="de-DE" sz="1400" i="1" dirty="0">
                <a:solidFill>
                  <a:schemeClr val="tx2"/>
                </a:solidFill>
                <a:cs typeface="Aldhabi" panose="020F0502020204030204" pitchFamily="2" charset="-78"/>
              </a:rPr>
              <a:t> design </a:t>
            </a:r>
            <a:r>
              <a:rPr lang="de-DE" sz="1400" i="1" dirty="0" err="1">
                <a:solidFill>
                  <a:schemeClr val="tx2"/>
                </a:solidFill>
                <a:cs typeface="Aldhabi" panose="020F0502020204030204" pitchFamily="2" charset="-78"/>
              </a:rPr>
              <a:t>requests</a:t>
            </a:r>
            <a:r>
              <a:rPr lang="de-DE" sz="1400" i="1" dirty="0">
                <a:solidFill>
                  <a:schemeClr val="tx2"/>
                </a:solidFill>
                <a:cs typeface="Aldhabi" panose="020F0502020204030204" pitchFamily="2" charset="-78"/>
              </a:rPr>
              <a:t>*</a:t>
            </a:r>
            <a:endParaRPr lang="de-BE" sz="1400" i="1" dirty="0">
              <a:solidFill>
                <a:schemeClr val="tx2"/>
              </a:solidFill>
              <a:cs typeface="Aldhabi" panose="020F0502020204030204" pitchFamily="2" charset="-7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7B56E41-65EB-9213-DEF0-20BAF74A50B9}"/>
              </a:ext>
            </a:extLst>
          </p:cNvPr>
          <p:cNvSpPr txBox="1"/>
          <p:nvPr/>
        </p:nvSpPr>
        <p:spPr>
          <a:xfrm>
            <a:off x="9378185" y="1619310"/>
            <a:ext cx="2033197" cy="18583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200" b="1" dirty="0"/>
              <a:t>*Design </a:t>
            </a:r>
            <a:r>
              <a:rPr lang="de-DE" sz="1200" b="1" dirty="0" err="1"/>
              <a:t>requests</a:t>
            </a:r>
            <a:r>
              <a:rPr lang="de-DE" sz="1200" b="1" dirty="0"/>
              <a:t> </a:t>
            </a:r>
            <a:r>
              <a:rPr lang="de-DE" sz="1200" b="1" dirty="0" err="1"/>
              <a:t>examples</a:t>
            </a:r>
            <a:r>
              <a:rPr lang="de-DE" sz="1200" b="1" dirty="0"/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 err="1"/>
              <a:t>Preferred</a:t>
            </a:r>
            <a:r>
              <a:rPr lang="de-DE" sz="1100" dirty="0"/>
              <a:t>/</a:t>
            </a:r>
            <a:r>
              <a:rPr lang="de-DE" sz="1100" dirty="0" err="1"/>
              <a:t>exclusive</a:t>
            </a:r>
            <a:r>
              <a:rPr lang="de-DE" sz="1100" dirty="0"/>
              <a:t> </a:t>
            </a:r>
            <a:r>
              <a:rPr lang="de-DE" sz="1100" dirty="0" err="1"/>
              <a:t>suppliers</a:t>
            </a:r>
            <a:endParaRPr lang="de-DE" sz="11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/>
              <a:t>Color </a:t>
            </a:r>
            <a:r>
              <a:rPr lang="de-DE" sz="1100" dirty="0" err="1"/>
              <a:t>scheme</a:t>
            </a:r>
            <a:endParaRPr lang="de-DE" sz="11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 err="1"/>
              <a:t>Corrosion</a:t>
            </a:r>
            <a:r>
              <a:rPr lang="de-DE" sz="1100" dirty="0"/>
              <a:t> </a:t>
            </a:r>
            <a:r>
              <a:rPr lang="de-DE" sz="1100" dirty="0" err="1"/>
              <a:t>protection</a:t>
            </a:r>
            <a:endParaRPr lang="de-DE" sz="11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 err="1"/>
              <a:t>Specific</a:t>
            </a:r>
            <a:r>
              <a:rPr lang="de-DE" sz="1100" dirty="0"/>
              <a:t> </a:t>
            </a:r>
            <a:r>
              <a:rPr lang="de-DE" sz="1100" dirty="0" err="1"/>
              <a:t>composite</a:t>
            </a:r>
            <a:r>
              <a:rPr lang="de-DE" sz="1100" dirty="0"/>
              <a:t> materia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/>
              <a:t>Door </a:t>
            </a:r>
            <a:r>
              <a:rPr lang="de-DE" sz="1100" dirty="0" err="1"/>
              <a:t>locking</a:t>
            </a:r>
            <a:r>
              <a:rPr lang="de-DE" sz="1100" dirty="0"/>
              <a:t> </a:t>
            </a:r>
            <a:r>
              <a:rPr lang="de-DE" sz="1100" dirty="0" err="1"/>
              <a:t>mechanism</a:t>
            </a:r>
            <a:endParaRPr lang="de-DE" sz="11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100" dirty="0" err="1"/>
              <a:t>Illuminations</a:t>
            </a:r>
            <a:endParaRPr lang="de-BE" sz="1100" dirty="0" err="1"/>
          </a:p>
        </p:txBody>
      </p:sp>
      <p:pic>
        <p:nvPicPr>
          <p:cNvPr id="16" name="Grafik 15" descr="Ein Bild, das Himmel, draußen, Schiff, Wasser enthält.&#10;&#10;KI-generierte Inhalte können fehlerhaft sein.">
            <a:extLst>
              <a:ext uri="{FF2B5EF4-FFF2-40B4-BE49-F238E27FC236}">
                <a16:creationId xmlns:a16="http://schemas.microsoft.com/office/drawing/2014/main" id="{DBB5BF80-2C77-67FF-5D16-8537983836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511" y="3429000"/>
            <a:ext cx="3532293" cy="2649220"/>
          </a:xfrm>
          <a:prstGeom prst="rect">
            <a:avLst/>
          </a:prstGeom>
        </p:spPr>
      </p:pic>
      <p:pic>
        <p:nvPicPr>
          <p:cNvPr id="18" name="Grafik 17" descr="Ein Bild, das Industrie, Bautechnik, Pfeife Flöte Rohr, Maschine enthält.&#10;&#10;KI-generierte Inhalte können fehlerhaft sein.">
            <a:extLst>
              <a:ext uri="{FF2B5EF4-FFF2-40B4-BE49-F238E27FC236}">
                <a16:creationId xmlns:a16="http://schemas.microsoft.com/office/drawing/2014/main" id="{56F057BE-4588-3804-06E5-0CB4B58211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357" y="3429000"/>
            <a:ext cx="3532293" cy="26492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A0ED15C8-0C39-B50A-F410-33D6B9AB9164}"/>
              </a:ext>
            </a:extLst>
          </p:cNvPr>
          <p:cNvSpPr txBox="1"/>
          <p:nvPr/>
        </p:nvSpPr>
        <p:spPr>
          <a:xfrm>
            <a:off x="3392213" y="6218451"/>
            <a:ext cx="5114776" cy="3277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noProof="0" dirty="0"/>
              <a:t>Two Converter Transformer for HVDC Offshore Converter Platforms</a:t>
            </a:r>
          </a:p>
        </p:txBody>
      </p:sp>
    </p:spTree>
    <p:extLst>
      <p:ext uri="{BB962C8B-B14F-4D97-AF65-F5344CB8AC3E}">
        <p14:creationId xmlns:p14="http://schemas.microsoft.com/office/powerpoint/2010/main" val="413623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E78B71B-47CA-B6E7-4EE3-B34C36255C62}"/>
              </a:ext>
            </a:extLst>
          </p:cNvPr>
          <p:cNvSpPr/>
          <p:nvPr/>
        </p:nvSpPr>
        <p:spPr>
          <a:xfrm>
            <a:off x="6179999" y="2893327"/>
            <a:ext cx="5184001" cy="3548951"/>
          </a:xfrm>
          <a:prstGeom prst="rect">
            <a:avLst/>
          </a:prstGeom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B04C0D72-1D93-49CC-537B-55F6F62311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4C0D72-1D93-49CC-537B-55F6F62311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45A0BB0E-8E17-455B-977E-BF8FB8AD3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400" dirty="0"/>
              <a:t>Complexity hinders necessary industrial production</a:t>
            </a:r>
          </a:p>
        </p:txBody>
      </p:sp>
      <p:grpSp>
        <p:nvGrpSpPr>
          <p:cNvPr id="29" name="Radial">
            <a:extLst>
              <a:ext uri="{FF2B5EF4-FFF2-40B4-BE49-F238E27FC236}">
                <a16:creationId xmlns:a16="http://schemas.microsoft.com/office/drawing/2014/main" id="{E52B19E0-EF3A-42EE-831F-4E0DA79DF87F}"/>
              </a:ext>
            </a:extLst>
          </p:cNvPr>
          <p:cNvGrpSpPr/>
          <p:nvPr/>
        </p:nvGrpSpPr>
        <p:grpSpPr>
          <a:xfrm>
            <a:off x="568498" y="2456088"/>
            <a:ext cx="3888000" cy="3888000"/>
            <a:chOff x="626400" y="1847043"/>
            <a:chExt cx="3888000" cy="3888000"/>
          </a:xfrm>
        </p:grpSpPr>
        <p:sp>
          <p:nvSpPr>
            <p:cNvPr id="3" name="Ring 1">
              <a:extLst>
                <a:ext uri="{FF2B5EF4-FFF2-40B4-BE49-F238E27FC236}">
                  <a16:creationId xmlns:a16="http://schemas.microsoft.com/office/drawing/2014/main" id="{62471DD9-2F65-40B8-897F-FCD2C2B8C0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6400" y="1847043"/>
              <a:ext cx="3888000" cy="3888000"/>
            </a:xfrm>
            <a:custGeom>
              <a:avLst/>
              <a:gdLst/>
              <a:ahLst/>
              <a:cxnLst/>
              <a:rect l="l" t="t" r="r" b="b"/>
              <a:pathLst>
                <a:path w="3960000" h="3960000">
                  <a:moveTo>
                    <a:pt x="1980000" y="360000"/>
                  </a:moveTo>
                  <a:cubicBezTo>
                    <a:pt x="1085299" y="360000"/>
                    <a:pt x="360000" y="1085299"/>
                    <a:pt x="360000" y="1980000"/>
                  </a:cubicBezTo>
                  <a:cubicBezTo>
                    <a:pt x="360000" y="2874701"/>
                    <a:pt x="1085299" y="3600000"/>
                    <a:pt x="1980000" y="3600000"/>
                  </a:cubicBezTo>
                  <a:cubicBezTo>
                    <a:pt x="2874701" y="3600000"/>
                    <a:pt x="3600000" y="2874701"/>
                    <a:pt x="3600000" y="1980000"/>
                  </a:cubicBezTo>
                  <a:cubicBezTo>
                    <a:pt x="3600000" y="1085299"/>
                    <a:pt x="2874701" y="360000"/>
                    <a:pt x="1980000" y="360000"/>
                  </a:cubicBezTo>
                  <a:close/>
                  <a:moveTo>
                    <a:pt x="1980000" y="0"/>
                  </a:moveTo>
                  <a:cubicBezTo>
                    <a:pt x="3073524" y="0"/>
                    <a:pt x="3960000" y="886476"/>
                    <a:pt x="3960000" y="1980000"/>
                  </a:cubicBezTo>
                  <a:cubicBezTo>
                    <a:pt x="3960000" y="3073524"/>
                    <a:pt x="3073524" y="3960000"/>
                    <a:pt x="1980000" y="3960000"/>
                  </a:cubicBezTo>
                  <a:cubicBezTo>
                    <a:pt x="886476" y="3960000"/>
                    <a:pt x="0" y="3073524"/>
                    <a:pt x="0" y="1980000"/>
                  </a:cubicBezTo>
                  <a:cubicBezTo>
                    <a:pt x="0" y="886476"/>
                    <a:pt x="886476" y="0"/>
                    <a:pt x="1980000" y="0"/>
                  </a:cubicBezTo>
                  <a:close/>
                </a:path>
              </a:pathLst>
            </a:custGeom>
            <a:solidFill>
              <a:schemeClr val="accent2"/>
            </a:solidFill>
            <a:ln w="19050" cap="flat" cmpd="sng" algn="ctr">
              <a:noFill/>
              <a:prstDash val="solid"/>
              <a:round/>
              <a:headEnd type="none" w="med" len="med"/>
              <a:tailEnd type="triangle" w="med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1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Frutiger LT Std 45 Light" pitchFamily="34" charset="0"/>
                <a:ea typeface="+mn-ea"/>
                <a:cs typeface="+mn-cs"/>
              </a:endParaRPr>
            </a:p>
          </p:txBody>
        </p:sp>
        <p:sp>
          <p:nvSpPr>
            <p:cNvPr id="4" name="Ring 2">
              <a:extLst>
                <a:ext uri="{FF2B5EF4-FFF2-40B4-BE49-F238E27FC236}">
                  <a16:creationId xmlns:a16="http://schemas.microsoft.com/office/drawing/2014/main" id="{3B114CD8-AFF1-4F25-92EC-EC09FB8DCC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66050" y="2386693"/>
              <a:ext cx="2808701" cy="2808701"/>
            </a:xfrm>
            <a:custGeom>
              <a:avLst/>
              <a:gdLst/>
              <a:ahLst/>
              <a:cxnLst/>
              <a:rect l="l" t="t" r="r" b="b"/>
              <a:pathLst>
                <a:path w="2880000" h="2880000">
                  <a:moveTo>
                    <a:pt x="1440000" y="360000"/>
                  </a:moveTo>
                  <a:cubicBezTo>
                    <a:pt x="843532" y="360000"/>
                    <a:pt x="360000" y="843532"/>
                    <a:pt x="360000" y="1440000"/>
                  </a:cubicBezTo>
                  <a:cubicBezTo>
                    <a:pt x="360000" y="2036468"/>
                    <a:pt x="843532" y="2520000"/>
                    <a:pt x="1440000" y="2520000"/>
                  </a:cubicBezTo>
                  <a:cubicBezTo>
                    <a:pt x="2036468" y="2520000"/>
                    <a:pt x="2520000" y="2036468"/>
                    <a:pt x="2520000" y="1440000"/>
                  </a:cubicBezTo>
                  <a:cubicBezTo>
                    <a:pt x="2520000" y="843532"/>
                    <a:pt x="2036468" y="360000"/>
                    <a:pt x="1440000" y="360000"/>
                  </a:cubicBezTo>
                  <a:close/>
                  <a:moveTo>
                    <a:pt x="1440000" y="0"/>
                  </a:moveTo>
                  <a:cubicBezTo>
                    <a:pt x="2235290" y="0"/>
                    <a:pt x="2880000" y="644710"/>
                    <a:pt x="2880000" y="1440000"/>
                  </a:cubicBezTo>
                  <a:cubicBezTo>
                    <a:pt x="2880000" y="2235290"/>
                    <a:pt x="2235290" y="2880000"/>
                    <a:pt x="1440000" y="2880000"/>
                  </a:cubicBezTo>
                  <a:cubicBezTo>
                    <a:pt x="644710" y="2880000"/>
                    <a:pt x="0" y="2235290"/>
                    <a:pt x="0" y="1440000"/>
                  </a:cubicBezTo>
                  <a:cubicBezTo>
                    <a:pt x="0" y="644710"/>
                    <a:pt x="644710" y="0"/>
                    <a:pt x="1440000" y="0"/>
                  </a:cubicBezTo>
                  <a:close/>
                </a:path>
              </a:pathLst>
            </a:cu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triangle" w="med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1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Frutiger LT Std 45 Light" pitchFamily="34" charset="0"/>
                <a:ea typeface="+mn-ea"/>
                <a:cs typeface="+mn-cs"/>
              </a:endParaRPr>
            </a:p>
          </p:txBody>
        </p:sp>
        <p:sp>
          <p:nvSpPr>
            <p:cNvPr id="5" name="Ring 3">
              <a:extLst>
                <a:ext uri="{FF2B5EF4-FFF2-40B4-BE49-F238E27FC236}">
                  <a16:creationId xmlns:a16="http://schemas.microsoft.com/office/drawing/2014/main" id="{45ADCB5F-31B2-4C65-8094-CB6A801115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88400" y="2909043"/>
              <a:ext cx="1764000" cy="1764000"/>
            </a:xfrm>
            <a:custGeom>
              <a:avLst/>
              <a:gdLst/>
              <a:ahLst/>
              <a:cxnLst/>
              <a:rect l="l" t="t" r="r" b="b"/>
              <a:pathLst>
                <a:path w="1800000" h="1800000">
                  <a:moveTo>
                    <a:pt x="900000" y="360000"/>
                  </a:moveTo>
                  <a:cubicBezTo>
                    <a:pt x="601766" y="360000"/>
                    <a:pt x="360000" y="601766"/>
                    <a:pt x="360000" y="900000"/>
                  </a:cubicBezTo>
                  <a:cubicBezTo>
                    <a:pt x="360000" y="1198234"/>
                    <a:pt x="601766" y="1440000"/>
                    <a:pt x="900000" y="1440000"/>
                  </a:cubicBezTo>
                  <a:cubicBezTo>
                    <a:pt x="1198234" y="1440000"/>
                    <a:pt x="1440000" y="1198234"/>
                    <a:pt x="1440000" y="900000"/>
                  </a:cubicBezTo>
                  <a:cubicBezTo>
                    <a:pt x="1440000" y="601766"/>
                    <a:pt x="1198234" y="360000"/>
                    <a:pt x="900000" y="360000"/>
                  </a:cubicBezTo>
                  <a:close/>
                  <a:moveTo>
                    <a:pt x="900000" y="0"/>
                  </a:moveTo>
                  <a:cubicBezTo>
                    <a:pt x="1397056" y="0"/>
                    <a:pt x="1800000" y="402944"/>
                    <a:pt x="1800000" y="900000"/>
                  </a:cubicBezTo>
                  <a:cubicBezTo>
                    <a:pt x="1800000" y="1397056"/>
                    <a:pt x="1397056" y="1800000"/>
                    <a:pt x="900000" y="1800000"/>
                  </a:cubicBezTo>
                  <a:cubicBezTo>
                    <a:pt x="402944" y="1800000"/>
                    <a:pt x="0" y="1397056"/>
                    <a:pt x="0" y="900000"/>
                  </a:cubicBezTo>
                  <a:cubicBezTo>
                    <a:pt x="0" y="402944"/>
                    <a:pt x="402944" y="0"/>
                    <a:pt x="900000" y="0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triangle" w="med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1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Frutiger LT Std 45 Light" pitchFamily="34" charset="0"/>
                <a:ea typeface="+mn-ea"/>
                <a:cs typeface="+mn-cs"/>
              </a:endParaRPr>
            </a:p>
          </p:txBody>
        </p:sp>
        <p:sp>
          <p:nvSpPr>
            <p:cNvPr id="28" name="Center">
              <a:extLst>
                <a:ext uri="{FF2B5EF4-FFF2-40B4-BE49-F238E27FC236}">
                  <a16:creationId xmlns:a16="http://schemas.microsoft.com/office/drawing/2014/main" id="{1A4997EF-2B3A-4749-A089-6D32764BE6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8400" y="3449043"/>
              <a:ext cx="684000" cy="684000"/>
            </a:xfrm>
            <a:prstGeom prst="ellipse">
              <a:avLst/>
            </a:prstGeom>
            <a:solidFill>
              <a:srgbClr val="21C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5" name="Dot 1">
            <a:extLst>
              <a:ext uri="{FF2B5EF4-FFF2-40B4-BE49-F238E27FC236}">
                <a16:creationId xmlns:a16="http://schemas.microsoft.com/office/drawing/2014/main" id="{A3BD2B0C-4EE9-471F-A7FF-6394EFE96A82}"/>
              </a:ext>
            </a:extLst>
          </p:cNvPr>
          <p:cNvGrpSpPr>
            <a:grpSpLocks noChangeAspect="1"/>
          </p:cNvGrpSpPr>
          <p:nvPr/>
        </p:nvGrpSpPr>
        <p:grpSpPr>
          <a:xfrm>
            <a:off x="2307905" y="1681287"/>
            <a:ext cx="4752000" cy="4752000"/>
            <a:chOff x="2308146" y="1545524"/>
            <a:chExt cx="4889742" cy="4889742"/>
          </a:xfrm>
        </p:grpSpPr>
        <p:sp>
          <p:nvSpPr>
            <p:cNvPr id="13" name="Dot 1">
              <a:extLst>
                <a:ext uri="{FF2B5EF4-FFF2-40B4-BE49-F238E27FC236}">
                  <a16:creationId xmlns:a16="http://schemas.microsoft.com/office/drawing/2014/main" id="{0C6748A7-3A12-42DB-853F-AEB73DFCD5B0}"/>
                </a:ext>
              </a:extLst>
            </p:cNvPr>
            <p:cNvSpPr/>
            <p:nvPr/>
          </p:nvSpPr>
          <p:spPr>
            <a:xfrm>
              <a:off x="2764760" y="2469405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ircle 1">
              <a:extLst>
                <a:ext uri="{FF2B5EF4-FFF2-40B4-BE49-F238E27FC236}">
                  <a16:creationId xmlns:a16="http://schemas.microsoft.com/office/drawing/2014/main" id="{7591B251-3DDB-41E1-BE3E-F1A4C07855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8146" y="1545524"/>
              <a:ext cx="4889742" cy="4889742"/>
            </a:xfrm>
            <a:prstGeom prst="arc">
              <a:avLst>
                <a:gd name="adj1" fmla="val 13079818"/>
                <a:gd name="adj2" fmla="val 18474823"/>
              </a:avLst>
            </a:prstGeom>
            <a:noFill/>
            <a:ln w="19050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Copy 1">
            <a:extLst>
              <a:ext uri="{FF2B5EF4-FFF2-40B4-BE49-F238E27FC236}">
                <a16:creationId xmlns:a16="http://schemas.microsoft.com/office/drawing/2014/main" id="{C36E5183-718D-4E80-9C03-65B0DAB38B3D}"/>
              </a:ext>
            </a:extLst>
          </p:cNvPr>
          <p:cNvSpPr txBox="1">
            <a:spLocks/>
          </p:cNvSpPr>
          <p:nvPr/>
        </p:nvSpPr>
        <p:spPr bwMode="gray">
          <a:xfrm>
            <a:off x="6242400" y="1663066"/>
            <a:ext cx="5472000" cy="1079438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0" tIns="71963" rIns="0" bIns="71963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255085" algn="r"/>
              </a:tabLst>
              <a:defRPr/>
            </a:pPr>
            <a:r>
              <a:rPr lang="en-US" altLang="de-DE" b="1" dirty="0">
                <a:solidFill>
                  <a:srgbClr val="4D217A"/>
                </a:solidFill>
                <a:latin typeface="Arial"/>
                <a:ea typeface="Arial Unicode MS"/>
              </a:rPr>
              <a:t>Additional specifications</a:t>
            </a:r>
            <a:endParaRPr kumimoji="0" lang="en-US" altLang="de-DE" sz="1800" b="1" i="0" u="none" strike="noStrike" kern="1200" cap="none" spc="0" normalizeH="0" baseline="0" noProof="0" dirty="0">
              <a:ln>
                <a:noFill/>
              </a:ln>
              <a:solidFill>
                <a:srgbClr val="4D217A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40000" lvl="1" indent="-140000">
              <a:spcAft>
                <a:spcPts val="300"/>
              </a:spcAft>
              <a:buClr>
                <a:srgbClr val="4D217A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Customer specific standards and individual applicable guidelines, e.g</a:t>
            </a:r>
            <a:r>
              <a:rPr lang="en-US" altLang="de-DE" sz="1400" dirty="0">
                <a:solidFill>
                  <a:srgbClr val="1B1534"/>
                </a:solidFill>
                <a:ea typeface="Arial Unicode MS"/>
                <a:cs typeface="Arial" pitchFamily="34" charset="0"/>
              </a:rPr>
              <a:t>. </a:t>
            </a:r>
            <a:r>
              <a:rPr lang="en-US" altLang="de-DE" sz="1400">
                <a:solidFill>
                  <a:srgbClr val="1B1534"/>
                </a:solidFill>
                <a:ea typeface="Arial Unicode MS"/>
                <a:cs typeface="Arial" pitchFamily="34" charset="0"/>
              </a:rPr>
              <a:t>color </a:t>
            </a:r>
            <a:r>
              <a:rPr lang="en-US" altLang="de-DE" sz="1400" dirty="0">
                <a:solidFill>
                  <a:srgbClr val="1B1534"/>
                </a:solidFill>
                <a:ea typeface="Arial Unicode MS"/>
                <a:cs typeface="Arial" pitchFamily="34" charset="0"/>
              </a:rPr>
              <a:t>scheme, corrosion protection, composite material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Arial Unicode MS"/>
              <a:cs typeface="Arial" pitchFamily="34" charset="0"/>
            </a:endParaRP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Preferred and exclusive supplier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C464B"/>
              </a:buClr>
              <a:buSzTx/>
              <a:buFontTx/>
              <a:buNone/>
              <a:tabLst/>
              <a:defRPr/>
            </a:pP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Arial Unicode MS"/>
              <a:cs typeface="Arial" pitchFamily="34" charset="0"/>
            </a:endParaRPr>
          </a:p>
        </p:txBody>
      </p:sp>
      <p:grpSp>
        <p:nvGrpSpPr>
          <p:cNvPr id="36" name="Dot 2">
            <a:extLst>
              <a:ext uri="{FF2B5EF4-FFF2-40B4-BE49-F238E27FC236}">
                <a16:creationId xmlns:a16="http://schemas.microsoft.com/office/drawing/2014/main" id="{C3F098A9-3749-45E4-A946-2383DB66BDC4}"/>
              </a:ext>
            </a:extLst>
          </p:cNvPr>
          <p:cNvGrpSpPr/>
          <p:nvPr/>
        </p:nvGrpSpPr>
        <p:grpSpPr>
          <a:xfrm>
            <a:off x="3225905" y="2808805"/>
            <a:ext cx="3456000" cy="3456000"/>
            <a:chOff x="3216730" y="2667876"/>
            <a:chExt cx="3597062" cy="3597062"/>
          </a:xfrm>
        </p:grpSpPr>
        <p:sp>
          <p:nvSpPr>
            <p:cNvPr id="22" name="Dot 2">
              <a:extLst>
                <a:ext uri="{FF2B5EF4-FFF2-40B4-BE49-F238E27FC236}">
                  <a16:creationId xmlns:a16="http://schemas.microsoft.com/office/drawing/2014/main" id="{F3980761-8235-47E3-844B-2B73B9712CD1}"/>
                </a:ext>
              </a:extLst>
            </p:cNvPr>
            <p:cNvSpPr/>
            <p:nvPr/>
          </p:nvSpPr>
          <p:spPr>
            <a:xfrm>
              <a:off x="3416986" y="3527751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Circle 2">
              <a:extLst>
                <a:ext uri="{FF2B5EF4-FFF2-40B4-BE49-F238E27FC236}">
                  <a16:creationId xmlns:a16="http://schemas.microsoft.com/office/drawing/2014/main" id="{AFF0D995-ABC4-4862-98B7-79BD7488A5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6730" y="2667876"/>
              <a:ext cx="3597062" cy="3597062"/>
            </a:xfrm>
            <a:prstGeom prst="arc">
              <a:avLst>
                <a:gd name="adj1" fmla="val 12667547"/>
                <a:gd name="adj2" fmla="val 18294443"/>
              </a:avLst>
            </a:prstGeom>
            <a:noFill/>
            <a:ln w="19050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Copy 2">
            <a:extLst>
              <a:ext uri="{FF2B5EF4-FFF2-40B4-BE49-F238E27FC236}">
                <a16:creationId xmlns:a16="http://schemas.microsoft.com/office/drawing/2014/main" id="{FCB1F84D-BCC9-4D2C-88C9-95C359C53461}"/>
              </a:ext>
            </a:extLst>
          </p:cNvPr>
          <p:cNvSpPr txBox="1">
            <a:spLocks/>
          </p:cNvSpPr>
          <p:nvPr/>
        </p:nvSpPr>
        <p:spPr bwMode="gray">
          <a:xfrm>
            <a:off x="6242400" y="2998950"/>
            <a:ext cx="5472000" cy="1079438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0" tIns="71963" rIns="0" bIns="71963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255085" algn="r"/>
              </a:tabLst>
              <a:defRPr/>
            </a:pPr>
            <a:r>
              <a:rPr kumimoji="0" lang="en-US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R&amp;D and Prototyping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Develop new solutions and features for changing market requirements (e.g. DC meshed grids; Grid Forming behavior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Tx/>
              <a:buNone/>
              <a:tabLst/>
              <a:defRPr/>
            </a:pP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Arial Unicode MS"/>
              <a:cs typeface="Arial" pitchFamily="34" charset="0"/>
            </a:endParaRPr>
          </a:p>
        </p:txBody>
      </p:sp>
      <p:grpSp>
        <p:nvGrpSpPr>
          <p:cNvPr id="37" name="Dot 3">
            <a:extLst>
              <a:ext uri="{FF2B5EF4-FFF2-40B4-BE49-F238E27FC236}">
                <a16:creationId xmlns:a16="http://schemas.microsoft.com/office/drawing/2014/main" id="{6280E7B4-AE67-411E-B5B1-98415695AF5D}"/>
              </a:ext>
            </a:extLst>
          </p:cNvPr>
          <p:cNvGrpSpPr/>
          <p:nvPr/>
        </p:nvGrpSpPr>
        <p:grpSpPr>
          <a:xfrm>
            <a:off x="2170323" y="-369912"/>
            <a:ext cx="5112000" cy="5112000"/>
            <a:chOff x="2170323" y="-369912"/>
            <a:chExt cx="5112000" cy="5112000"/>
          </a:xfrm>
        </p:grpSpPr>
        <p:sp>
          <p:nvSpPr>
            <p:cNvPr id="9" name="Dot 3">
              <a:extLst>
                <a:ext uri="{FF2B5EF4-FFF2-40B4-BE49-F238E27FC236}">
                  <a16:creationId xmlns:a16="http://schemas.microsoft.com/office/drawing/2014/main" id="{12CD88DE-5C09-4459-AC9B-F85375B64A75}"/>
                </a:ext>
              </a:extLst>
            </p:cNvPr>
            <p:cNvSpPr/>
            <p:nvPr/>
          </p:nvSpPr>
          <p:spPr>
            <a:xfrm flipV="1">
              <a:off x="3068432" y="4105684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Circle 3">
              <a:extLst>
                <a:ext uri="{FF2B5EF4-FFF2-40B4-BE49-F238E27FC236}">
                  <a16:creationId xmlns:a16="http://schemas.microsoft.com/office/drawing/2014/main" id="{62EFBA56-426B-43B8-813A-E7D930AC3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70323" y="-369912"/>
              <a:ext cx="5112000" cy="5112000"/>
            </a:xfrm>
            <a:prstGeom prst="arc">
              <a:avLst>
                <a:gd name="adj1" fmla="val 3570372"/>
                <a:gd name="adj2" fmla="val 7729549"/>
              </a:avLst>
            </a:prstGeom>
            <a:noFill/>
            <a:ln w="19050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Copy 3">
            <a:extLst>
              <a:ext uri="{FF2B5EF4-FFF2-40B4-BE49-F238E27FC236}">
                <a16:creationId xmlns:a16="http://schemas.microsoft.com/office/drawing/2014/main" id="{4DB90FE4-7E62-4939-AFA2-3294CF8C2D61}"/>
              </a:ext>
            </a:extLst>
          </p:cNvPr>
          <p:cNvSpPr txBox="1">
            <a:spLocks/>
          </p:cNvSpPr>
          <p:nvPr/>
        </p:nvSpPr>
        <p:spPr bwMode="gray">
          <a:xfrm>
            <a:off x="6242400" y="4013278"/>
            <a:ext cx="5472000" cy="1079438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0" tIns="71963" rIns="0" bIns="71963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255085" algn="r"/>
              </a:tabLst>
              <a:defRPr/>
            </a:pPr>
            <a:r>
              <a:rPr kumimoji="0" lang="en-US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Rules and Standards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International rules &amp; standards e.g. IEC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Consenting / permitting requirements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Supply chain blacklist, i.e. insecure/unsafe suppliers</a:t>
            </a:r>
          </a:p>
        </p:txBody>
      </p:sp>
      <p:grpSp>
        <p:nvGrpSpPr>
          <p:cNvPr id="38" name="Dot 4">
            <a:extLst>
              <a:ext uri="{FF2B5EF4-FFF2-40B4-BE49-F238E27FC236}">
                <a16:creationId xmlns:a16="http://schemas.microsoft.com/office/drawing/2014/main" id="{20EEA294-4B8B-4D95-9C23-D9234F5C1F5C}"/>
              </a:ext>
            </a:extLst>
          </p:cNvPr>
          <p:cNvGrpSpPr/>
          <p:nvPr/>
        </p:nvGrpSpPr>
        <p:grpSpPr>
          <a:xfrm>
            <a:off x="2167139" y="593195"/>
            <a:ext cx="5112000" cy="5112000"/>
            <a:chOff x="2167139" y="593195"/>
            <a:chExt cx="5112000" cy="5112000"/>
          </a:xfrm>
        </p:grpSpPr>
        <p:sp>
          <p:nvSpPr>
            <p:cNvPr id="15" name="Dot 4">
              <a:extLst>
                <a:ext uri="{FF2B5EF4-FFF2-40B4-BE49-F238E27FC236}">
                  <a16:creationId xmlns:a16="http://schemas.microsoft.com/office/drawing/2014/main" id="{02267C48-6083-407A-82D9-29016721781F}"/>
                </a:ext>
              </a:extLst>
            </p:cNvPr>
            <p:cNvSpPr/>
            <p:nvPr/>
          </p:nvSpPr>
          <p:spPr>
            <a:xfrm rot="258258" flipV="1">
              <a:off x="2461807" y="4334107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Circle 4">
              <a:extLst>
                <a:ext uri="{FF2B5EF4-FFF2-40B4-BE49-F238E27FC236}">
                  <a16:creationId xmlns:a16="http://schemas.microsoft.com/office/drawing/2014/main" id="{1233EE62-DB27-4DEB-AE29-E5DA358BFC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7139" y="593195"/>
              <a:ext cx="5112000" cy="5112000"/>
            </a:xfrm>
            <a:prstGeom prst="arc">
              <a:avLst>
                <a:gd name="adj1" fmla="val 3689822"/>
                <a:gd name="adj2" fmla="val 9036861"/>
              </a:avLst>
            </a:prstGeom>
            <a:noFill/>
            <a:ln w="19050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Copy 4">
            <a:extLst>
              <a:ext uri="{FF2B5EF4-FFF2-40B4-BE49-F238E27FC236}">
                <a16:creationId xmlns:a16="http://schemas.microsoft.com/office/drawing/2014/main" id="{A75E44CF-01CA-4FB4-9B78-72659FF649CE}"/>
              </a:ext>
            </a:extLst>
          </p:cNvPr>
          <p:cNvSpPr txBox="1">
            <a:spLocks/>
          </p:cNvSpPr>
          <p:nvPr/>
        </p:nvSpPr>
        <p:spPr bwMode="gray">
          <a:xfrm>
            <a:off x="6242400" y="5236928"/>
            <a:ext cx="5472000" cy="108000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0" tIns="71963" rIns="0" bIns="71963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255085" algn="r"/>
              </a:tabLst>
              <a:defRPr/>
            </a:pPr>
            <a:r>
              <a:rPr kumimoji="0" lang="en-US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Basic Functionality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Transmission of Energy with predefined Rating, availability, reliability, Losses and maintainability</a:t>
            </a:r>
          </a:p>
          <a:p>
            <a:pPr marL="140000" marR="0" lvl="1" indent="-14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D21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Required Features and ancillary services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B36D4A-7215-5DDC-53EF-58600DB53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© Siemens Energy, 202</a:t>
            </a:r>
            <a:r>
              <a:rPr kumimoji="0" lang="en-DE" sz="10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| </a:t>
            </a:r>
            <a:r>
              <a:rPr lang="en-US" dirty="0">
                <a:solidFill>
                  <a:srgbClr val="1B1534"/>
                </a:solidFill>
                <a:latin typeface="Arial"/>
              </a:rPr>
              <a:t>SE CM GE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2000BC1-AEE5-0B96-4916-B473108A1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0116A-0D09-4E99-8C69-B4C15A5D8A2B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515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C79668-99DC-D250-BB4B-FB041E7DD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Energy, 2025 | SE CM GEA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21D261A-1FEE-486A-FEF1-29DC70556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79534F3-6740-1E61-26D7-7F8860FB2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1063" y="709302"/>
            <a:ext cx="9225868" cy="581749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D7C88F6-C188-2F69-510C-91B23B50D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9" y="4798"/>
            <a:ext cx="8010309" cy="3695833"/>
          </a:xfrm>
        </p:spPr>
        <p:txBody>
          <a:bodyPr anchor="t">
            <a:normAutofit/>
          </a:bodyPr>
          <a:lstStyle/>
          <a:p>
            <a:r>
              <a:rPr lang="en-US" sz="4400" noProof="0" dirty="0"/>
              <a:t>Simplified tenders that deliver: </a:t>
            </a:r>
          </a:p>
        </p:txBody>
      </p:sp>
    </p:spTree>
    <p:extLst>
      <p:ext uri="{BB962C8B-B14F-4D97-AF65-F5344CB8AC3E}">
        <p14:creationId xmlns:p14="http://schemas.microsoft.com/office/powerpoint/2010/main" val="1593158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0">
      <a:srgbClr val="EFEBEA"/>
    </a:custClr>
    <a:custClr name="SE Brown 3">
      <a:srgbClr val="8F7C7A"/>
    </a:custClr>
    <a:custClr name="SE Gray 0">
      <a:srgbClr val="EAF4F8"/>
    </a:custClr>
    <a:custClr name="SE Gray 3">
      <a:srgbClr val="96B0C0"/>
    </a:custClr>
    <a:custClr name="SE Green 0">
      <a:srgbClr val="DCFFDC"/>
    </a:custClr>
    <a:custClr name="SE Green 3">
      <a:srgbClr val="27B66D"/>
    </a:custClr>
    <a:custClr name="SE Blue 0">
      <a:srgbClr val="CAF9FF"/>
    </a:custClr>
    <a:custClr name="SE Blue 3">
      <a:srgbClr val="0084E1"/>
    </a:custClr>
    <a:custClr name="SE Yellow 0">
      <a:srgbClr val="FCFCB5"/>
    </a:custClr>
    <a:custClr name="SE Yellow 3">
      <a:srgbClr val="E2D000"/>
    </a:custClr>
    <a:custClr name="SE Brown 1">
      <a:srgbClr val="CFC0BE"/>
    </a:custClr>
    <a:custClr name="SE Brown 4">
      <a:srgbClr val="7D6766"/>
    </a:custClr>
    <a:custClr name="SE Gray 1">
      <a:srgbClr val="D7E4EE"/>
    </a:custClr>
    <a:custClr name="SE Gray 4">
      <a:srgbClr val="7B919D"/>
    </a:custClr>
    <a:custClr name="SE Green 1">
      <a:srgbClr val="00FD79"/>
    </a:custClr>
    <a:custClr name="SE Green 4">
      <a:srgbClr val="009B55"/>
    </a:custClr>
    <a:custClr name="SE Blue 1">
      <a:srgbClr val="6ADDFF"/>
    </a:custClr>
    <a:custClr name="SE Blue 4">
      <a:srgbClr val="0057C6"/>
    </a:custClr>
    <a:custClr name="SE Yellow 1">
      <a:srgbClr val="FFF91F"/>
    </a:custClr>
    <a:custClr name="SE Yellow 4">
      <a:srgbClr val="C6AE00"/>
    </a:custClr>
    <a:custClr name="SE Brown 2">
      <a:srgbClr val="AF9E9C"/>
    </a:custClr>
    <a:custClr name="SE Brown 5">
      <a:srgbClr val="564646"/>
    </a:custClr>
    <a:custClr name="SE Gray 2">
      <a:srgbClr val="B8CEDB"/>
    </a:custClr>
    <a:custClr name="SE Gray 5">
      <a:srgbClr val="54646E"/>
    </a:custClr>
    <a:custClr name="SE Green 2">
      <a:srgbClr val="14DA79"/>
    </a:custClr>
    <a:custClr name="SE Green 5">
      <a:srgbClr val="006C3B"/>
    </a:custClr>
    <a:custClr name="SE Blue 2">
      <a:srgbClr val="21C0FF"/>
    </a:custClr>
    <a:custClr name="SE Blue 5">
      <a:srgbClr val="00328C"/>
    </a:custClr>
    <a:custClr name="SE Yellow 2">
      <a:srgbClr val="F6E600"/>
    </a:custClr>
    <a:custClr name="SE Yellow 5">
      <a:srgbClr val="8C7500"/>
    </a:custClr>
  </a:custClrLst>
  <a:extLst>
    <a:ext uri="{05A4C25C-085E-4340-85A3-A5531E510DB2}">
      <thm15:themeFamily xmlns:thm15="http://schemas.microsoft.com/office/thememl/2012/main" name="PPT-Template_v1-6.pptx" id="{92D31AB8-FCA8-4398-B82D-2BA35635C3BD}" vid="{670D851F-3A81-4B2D-BF82-F7EB806DE695}"/>
    </a:ext>
  </a:extLst>
</a:theme>
</file>

<file path=ppt/theme/theme2.xml><?xml version="1.0" encoding="utf-8"?>
<a:theme xmlns:a="http://schemas.openxmlformats.org/drawingml/2006/main" name="1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0">
      <a:srgbClr val="EFEBEA"/>
    </a:custClr>
    <a:custClr name="SE Brown 3">
      <a:srgbClr val="8F7C7A"/>
    </a:custClr>
    <a:custClr name="SE Gray 0">
      <a:srgbClr val="EAF4F8"/>
    </a:custClr>
    <a:custClr name="SE Gray 3">
      <a:srgbClr val="96B0C0"/>
    </a:custClr>
    <a:custClr name="SE Green 0">
      <a:srgbClr val="DCFFDC"/>
    </a:custClr>
    <a:custClr name="SE Green 3">
      <a:srgbClr val="27B66D"/>
    </a:custClr>
    <a:custClr name="SE Blue 0">
      <a:srgbClr val="CAF9FF"/>
    </a:custClr>
    <a:custClr name="SE Blue 3">
      <a:srgbClr val="0084E1"/>
    </a:custClr>
    <a:custClr name="SE Yellow 0">
      <a:srgbClr val="FCFCB5"/>
    </a:custClr>
    <a:custClr name="SE Yellow 3">
      <a:srgbClr val="E2D000"/>
    </a:custClr>
    <a:custClr name="SE Brown 1">
      <a:srgbClr val="CFC0BE"/>
    </a:custClr>
    <a:custClr name="SE Brown 4">
      <a:srgbClr val="7D6766"/>
    </a:custClr>
    <a:custClr name="SE Gray 1">
      <a:srgbClr val="D7E4EE"/>
    </a:custClr>
    <a:custClr name="SE Gray 4">
      <a:srgbClr val="7B919D"/>
    </a:custClr>
    <a:custClr name="SE Green 1">
      <a:srgbClr val="00FD79"/>
    </a:custClr>
    <a:custClr name="SE Green 4">
      <a:srgbClr val="009B55"/>
    </a:custClr>
    <a:custClr name="SE Blue 1">
      <a:srgbClr val="6ADDFF"/>
    </a:custClr>
    <a:custClr name="SE Blue 4">
      <a:srgbClr val="0057C6"/>
    </a:custClr>
    <a:custClr name="SE Yellow 1">
      <a:srgbClr val="FFF91F"/>
    </a:custClr>
    <a:custClr name="SE Yellow 4">
      <a:srgbClr val="C6AE00"/>
    </a:custClr>
    <a:custClr name="SE Brown 2">
      <a:srgbClr val="AF9E9C"/>
    </a:custClr>
    <a:custClr name="SE Brown 5">
      <a:srgbClr val="564646"/>
    </a:custClr>
    <a:custClr name="SE Gray 2">
      <a:srgbClr val="B8CEDB"/>
    </a:custClr>
    <a:custClr name="SE Gray 5">
      <a:srgbClr val="54646E"/>
    </a:custClr>
    <a:custClr name="SE Green 2">
      <a:srgbClr val="14DA79"/>
    </a:custClr>
    <a:custClr name="SE Green 5">
      <a:srgbClr val="006C3B"/>
    </a:custClr>
    <a:custClr name="SE Blue 2">
      <a:srgbClr val="21C0FF"/>
    </a:custClr>
    <a:custClr name="SE Blue 5">
      <a:srgbClr val="00328C"/>
    </a:custClr>
    <a:custClr name="SE Yellow 2">
      <a:srgbClr val="F6E600"/>
    </a:custClr>
    <a:custClr name="SE Yellow 5">
      <a:srgbClr val="8C7500"/>
    </a:custClr>
  </a:custClrLst>
  <a:extLst>
    <a:ext uri="{05A4C25C-085E-4340-85A3-A5531E510DB2}">
      <thm15:themeFamily xmlns:thm15="http://schemas.microsoft.com/office/thememl/2012/main" name="PPT-Template_v1-7" id="{7F2E0BED-8BD3-4D77-8BD2-9F8ECA825D18}" vid="{6B2A5F3D-36E8-4871-A5BB-16BCCABEB165}"/>
    </a:ext>
  </a:extLst>
</a:theme>
</file>

<file path=ppt/theme/theme3.xml><?xml version="1.0" encoding="utf-8"?>
<a:theme xmlns:a="http://schemas.openxmlformats.org/drawingml/2006/main" name="2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0">
      <a:srgbClr val="EFEBEA"/>
    </a:custClr>
    <a:custClr name="SE Brown 3">
      <a:srgbClr val="8F7C7A"/>
    </a:custClr>
    <a:custClr name="SE Gray 0">
      <a:srgbClr val="EAF4F8"/>
    </a:custClr>
    <a:custClr name="SE Gray 3">
      <a:srgbClr val="96B0C0"/>
    </a:custClr>
    <a:custClr name="SE Green 0">
      <a:srgbClr val="DCFFDC"/>
    </a:custClr>
    <a:custClr name="SE Green 3">
      <a:srgbClr val="27B66D"/>
    </a:custClr>
    <a:custClr name="SE Blue 0">
      <a:srgbClr val="CAF9FF"/>
    </a:custClr>
    <a:custClr name="SE Blue 3">
      <a:srgbClr val="0084E1"/>
    </a:custClr>
    <a:custClr name="SE Yellow 0">
      <a:srgbClr val="FCFCB5"/>
    </a:custClr>
    <a:custClr name="SE Yellow 3">
      <a:srgbClr val="E2D000"/>
    </a:custClr>
    <a:custClr name="SE Brown 1">
      <a:srgbClr val="CFC0BE"/>
    </a:custClr>
    <a:custClr name="SE Brown 4">
      <a:srgbClr val="7D6766"/>
    </a:custClr>
    <a:custClr name="SE Gray 1">
      <a:srgbClr val="D7E4EE"/>
    </a:custClr>
    <a:custClr name="SE Gray 4">
      <a:srgbClr val="7B919D"/>
    </a:custClr>
    <a:custClr name="SE Green 1">
      <a:srgbClr val="00FD79"/>
    </a:custClr>
    <a:custClr name="SE Green 4">
      <a:srgbClr val="009B55"/>
    </a:custClr>
    <a:custClr name="SE Blue 1">
      <a:srgbClr val="6ADDFF"/>
    </a:custClr>
    <a:custClr name="SE Blue 4">
      <a:srgbClr val="0057C6"/>
    </a:custClr>
    <a:custClr name="SE Yellow 1">
      <a:srgbClr val="FFF91F"/>
    </a:custClr>
    <a:custClr name="SE Yellow 4">
      <a:srgbClr val="C6AE00"/>
    </a:custClr>
    <a:custClr name="SE Brown 2">
      <a:srgbClr val="AF9E9C"/>
    </a:custClr>
    <a:custClr name="SE Brown 5">
      <a:srgbClr val="564646"/>
    </a:custClr>
    <a:custClr name="SE Gray 2">
      <a:srgbClr val="B8CEDB"/>
    </a:custClr>
    <a:custClr name="SE Gray 5">
      <a:srgbClr val="54646E"/>
    </a:custClr>
    <a:custClr name="SE Green 2">
      <a:srgbClr val="14DA79"/>
    </a:custClr>
    <a:custClr name="SE Green 5">
      <a:srgbClr val="006C3B"/>
    </a:custClr>
    <a:custClr name="SE Blue 2">
      <a:srgbClr val="21C0FF"/>
    </a:custClr>
    <a:custClr name="SE Blue 5">
      <a:srgbClr val="00328C"/>
    </a:custClr>
    <a:custClr name="SE Yellow 2">
      <a:srgbClr val="F6E600"/>
    </a:custClr>
    <a:custClr name="SE Yellow 5">
      <a:srgbClr val="8C7500"/>
    </a:custClr>
  </a:custClrLst>
  <a:extLst>
    <a:ext uri="{05A4C25C-085E-4340-85A3-A5531E510DB2}">
      <thm15:themeFamily xmlns:thm15="http://schemas.microsoft.com/office/thememl/2012/main" name="SE_PPT-Template.pptx" id="{023A37F2-AF87-4822-B4D0-64FAE8ABED5E}" vid="{9F6375CC-19C6-408F-A8EE-C21CBC27B287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6" ma:contentTypeDescription="Create a new document." ma:contentTypeScope="" ma:versionID="5a6d821fafa8c1b6c498b45dd56d542c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cb514c0243f67ba30e30db0d5605bea9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Props1.xml><?xml version="1.0" encoding="utf-8"?>
<ds:datastoreItem xmlns:ds="http://schemas.openxmlformats.org/officeDocument/2006/customXml" ds:itemID="{143F80D7-F6AC-437C-9C02-1C44D86F88AC}"/>
</file>

<file path=customXml/itemProps2.xml><?xml version="1.0" encoding="utf-8"?>
<ds:datastoreItem xmlns:ds="http://schemas.openxmlformats.org/officeDocument/2006/customXml" ds:itemID="{1F3C9587-457C-4CEF-97B9-1580C107C6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4A0514-2C4B-4EDE-B8C0-D4EE8DF20F07}">
  <ds:schemaRefs>
    <ds:schemaRef ds:uri="http://schemas.microsoft.com/office/2006/metadata/properties"/>
    <ds:schemaRef ds:uri="http://schemas.microsoft.com/office/infopath/2007/PartnerControls"/>
    <ds:schemaRef ds:uri="bcbb3573-90a7-4932-b825-ada5a1f431a7"/>
    <ds:schemaRef ds:uri="c9a3743e-b8e1-4e7e-bc09-ad034106da5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1</Words>
  <Application>Microsoft Office PowerPoint</Application>
  <PresentationFormat>Widescreen</PresentationFormat>
  <Paragraphs>4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ldhabi</vt:lpstr>
      <vt:lpstr>Aptos</vt:lpstr>
      <vt:lpstr>Arial</vt:lpstr>
      <vt:lpstr>Arial Unicode MS</vt:lpstr>
      <vt:lpstr>Frutiger LT Std 45 Light</vt:lpstr>
      <vt:lpstr>Times New Roman</vt:lpstr>
      <vt:lpstr>Siemens Energy</vt:lpstr>
      <vt:lpstr>1_Siemens Energy</vt:lpstr>
      <vt:lpstr>2_Siemens Energy</vt:lpstr>
      <vt:lpstr>think-cell Folie</vt:lpstr>
      <vt:lpstr>PowerPoint Presentation</vt:lpstr>
      <vt:lpstr>Europe needs an affordable and secure grid fast. </vt:lpstr>
      <vt:lpstr>More capacity instead of complexity. </vt:lpstr>
      <vt:lpstr>Complexity hinders necessary industrial production</vt:lpstr>
      <vt:lpstr>Simplified tenders that deliver: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ischka, Tanja</dc:creator>
  <cp:lastModifiedBy>Offenberg, Philipp</cp:lastModifiedBy>
  <cp:revision>4</cp:revision>
  <dcterms:created xsi:type="dcterms:W3CDTF">2025-10-08T09:00:43Z</dcterms:created>
  <dcterms:modified xsi:type="dcterms:W3CDTF">2025-10-16T10:2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6791f77-3d39-4d72-9277-ac879ec799ed_Enabled">
    <vt:lpwstr>true</vt:lpwstr>
  </property>
  <property fmtid="{D5CDD505-2E9C-101B-9397-08002B2CF9AE}" pid="3" name="MSIP_Label_36791f77-3d39-4d72-9277-ac879ec799ed_SetDate">
    <vt:lpwstr>2025-10-08T11:59:42Z</vt:lpwstr>
  </property>
  <property fmtid="{D5CDD505-2E9C-101B-9397-08002B2CF9AE}" pid="4" name="MSIP_Label_36791f77-3d39-4d72-9277-ac879ec799ed_Method">
    <vt:lpwstr>Standard</vt:lpwstr>
  </property>
  <property fmtid="{D5CDD505-2E9C-101B-9397-08002B2CF9AE}" pid="5" name="MSIP_Label_36791f77-3d39-4d72-9277-ac879ec799ed_Name">
    <vt:lpwstr>restricted-default</vt:lpwstr>
  </property>
  <property fmtid="{D5CDD505-2E9C-101B-9397-08002B2CF9AE}" pid="6" name="MSIP_Label_36791f77-3d39-4d72-9277-ac879ec799ed_SiteId">
    <vt:lpwstr>254ba93e-1f6f-48f3-90e6-e2766664b477</vt:lpwstr>
  </property>
  <property fmtid="{D5CDD505-2E9C-101B-9397-08002B2CF9AE}" pid="7" name="MSIP_Label_36791f77-3d39-4d72-9277-ac879ec799ed_ActionId">
    <vt:lpwstr>2fea8469-57de-42c0-9e91-da9843624f25</vt:lpwstr>
  </property>
  <property fmtid="{D5CDD505-2E9C-101B-9397-08002B2CF9AE}" pid="8" name="MSIP_Label_36791f77-3d39-4d72-9277-ac879ec799ed_ContentBits">
    <vt:lpwstr>0</vt:lpwstr>
  </property>
  <property fmtid="{D5CDD505-2E9C-101B-9397-08002B2CF9AE}" pid="9" name="MSIP_Label_36791f77-3d39-4d72-9277-ac879ec799ed_Tag">
    <vt:lpwstr>10, 3, 0, 1</vt:lpwstr>
  </property>
  <property fmtid="{D5CDD505-2E9C-101B-9397-08002B2CF9AE}" pid="10" name="ContentTypeId">
    <vt:lpwstr>0x01010063BA515A7BAE2A43BBCEEFC8DB246324</vt:lpwstr>
  </property>
  <property fmtid="{D5CDD505-2E9C-101B-9397-08002B2CF9AE}" pid="11" name="MediaServiceImageTags">
    <vt:lpwstr/>
  </property>
</Properties>
</file>